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60" r:id="rId1"/>
  </p:sldMasterIdLst>
  <p:notesMasterIdLst>
    <p:notesMasterId r:id="rId12"/>
  </p:notesMasterIdLst>
  <p:handoutMasterIdLst>
    <p:handoutMasterId r:id="rId13"/>
  </p:handoutMasterIdLst>
  <p:sldIdLst>
    <p:sldId id="278" r:id="rId2"/>
    <p:sldId id="1851" r:id="rId3"/>
    <p:sldId id="1891" r:id="rId4"/>
    <p:sldId id="478" r:id="rId5"/>
    <p:sldId id="1889" r:id="rId6"/>
    <p:sldId id="925" r:id="rId7"/>
    <p:sldId id="1884" r:id="rId8"/>
    <p:sldId id="1890" r:id="rId9"/>
    <p:sldId id="1887" r:id="rId10"/>
    <p:sldId id="1855" r:id="rId11"/>
  </p:sldIdLst>
  <p:sldSz cx="9144000" cy="5143500" type="screen16x9"/>
  <p:notesSz cx="6797675" cy="9928225"/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F9B600"/>
    <a:srgbClr val="000000"/>
    <a:srgbClr val="485C6A"/>
    <a:srgbClr val="C6D6DE"/>
    <a:srgbClr val="B3CCD5"/>
    <a:srgbClr val="DFDEE3"/>
    <a:srgbClr val="8E221C"/>
    <a:srgbClr val="DEBB6B"/>
    <a:srgbClr val="91282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525"/>
    <p:restoredTop sz="77332" autoAdjust="0"/>
  </p:normalViewPr>
  <p:slideViewPr>
    <p:cSldViewPr snapToGrid="0" snapToObjects="1">
      <p:cViewPr varScale="1">
        <p:scale>
          <a:sx n="66" d="100"/>
          <a:sy n="66" d="100"/>
        </p:scale>
        <p:origin x="1556" y="1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78" d="100"/>
          <a:sy n="78" d="100"/>
        </p:scale>
        <p:origin x="3978" y="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253EE01A-6488-3444-BDED-29FC2E55B0E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82AA3FF-F9D9-D145-B1FD-EEB6BA4965E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B58BEC-62F2-7F46-BB0D-9E0A889770D2}" type="datetimeFigureOut">
              <a:rPr lang="de-DE" smtClean="0"/>
              <a:t>13.05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E3FB6C4-73A0-9E41-86EB-76A00C51CB6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4925DE3-01D3-9045-8CC9-714BAFF4D7E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FC3861-4A47-C24B-8A57-61E1B240684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20577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C35EE5-9893-944D-8235-456AE6C7C045}" type="datetimeFigureOut">
              <a:rPr lang="de-DE" smtClean="0"/>
              <a:t>13.05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C64CBD-E6EA-4A43-99C8-C107F23DE09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28680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C64CBD-E6EA-4A43-99C8-C107F23DE09A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36153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C64CBD-E6EA-4A43-99C8-C107F23DE09A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70748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C64CBD-E6EA-4A43-99C8-C107F23DE09A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43635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3028"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684771">
              <a:defRPr/>
            </a:pPr>
            <a:fld id="{BCC64CBD-E6EA-4A43-99C8-C107F23DE09A}" type="slidenum">
              <a:rPr lang="de-DE">
                <a:solidFill>
                  <a:prstClr val="black"/>
                </a:solidFill>
                <a:latin typeface="Calibri" panose="020F0502020204030204"/>
              </a:rPr>
              <a:pPr defTabSz="684771">
                <a:defRPr/>
              </a:pPr>
              <a:t>4</a:t>
            </a:fld>
            <a:endParaRPr lang="de-D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9050431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C64CBD-E6EA-4A43-99C8-C107F23DE09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89617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C64CBD-E6EA-4A43-99C8-C107F23DE09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63285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C64CBD-E6EA-4A43-99C8-C107F23DE09A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224471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C64CBD-E6EA-4A43-99C8-C107F23DE09A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67415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C64CBD-E6EA-4A43-99C8-C107F23DE09A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51199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tif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E532D9D1-B529-E343-BBE9-62E4D07F61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9143999" cy="51435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27272280-9D3B-3C40-A63F-BD2C57CBC1C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0" y="3960000"/>
            <a:ext cx="1223999" cy="899044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AE55519-0BEB-8E47-9C6C-92064AE8F6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60000" y="1692"/>
            <a:ext cx="1224000" cy="277200"/>
          </a:xfrm>
          <a:solidFill>
            <a:schemeClr val="bg2"/>
          </a:solidFill>
        </p:spPr>
        <p:txBody>
          <a:bodyPr lIns="0" tIns="0" rIns="0" bIns="0" anchor="ctr" anchorCtr="0">
            <a:normAutofit/>
          </a:bodyPr>
          <a:lstStyle>
            <a:lvl1pPr marL="0" indent="0" algn="ctr">
              <a:buFontTx/>
              <a:buNone/>
              <a:defRPr sz="75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 err="1"/>
              <a:t>Wir.Dienen.Deutschland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59642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(Einstufungsgrad: z. B. „Offen“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‹Nr.›</a:t>
            </a:fld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5FFEAD8C-438F-2F42-A4FE-9072CD40D8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7" y="0"/>
            <a:ext cx="8569325" cy="684000"/>
          </a:xfrm>
        </p:spPr>
        <p:txBody>
          <a:bodyPr anchor="ctr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Überschrift – Platz für eine 2-zeilige </a:t>
            </a:r>
            <a:r>
              <a:rPr lang="de-DE" dirty="0" err="1"/>
              <a:t>überschrift</a:t>
            </a:r>
            <a:r>
              <a:rPr lang="de-DE" dirty="0"/>
              <a:t> in 15 Punkt </a:t>
            </a:r>
            <a:r>
              <a:rPr lang="de-DE" dirty="0" err="1"/>
              <a:t>Grösse</a:t>
            </a:r>
            <a:r>
              <a:rPr lang="de-DE" dirty="0"/>
              <a:t> oder eine 1-zeilge Überschrift in 23 Punkt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A54758-588F-E94D-9E89-6041CDB62A9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684001"/>
            <a:ext cx="9144000" cy="4280112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22571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chart ohn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05479FE-DBDE-9645-865A-097E28F8D5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(Einstufungsgrad: z. B. „Offen“)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64E2D09-860D-054C-BA42-CF9F3B366D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49AAB67C-ADC2-6D4C-8E48-8F0BC1522BA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964113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4166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(Einstufungsgrad: z. B. „Offen“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‹Nr.›</a:t>
            </a:fld>
            <a:endParaRPr lang="de-DE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5FFEAD8C-438F-2F42-A4FE-9072CD40D8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7" y="0"/>
            <a:ext cx="8569325" cy="684000"/>
          </a:xfrm>
        </p:spPr>
        <p:txBody>
          <a:bodyPr anchor="ctr" anchorCtr="0">
            <a:noAutofit/>
          </a:bodyPr>
          <a:lstStyle>
            <a:lvl1pPr marL="0" indent="0">
              <a:spcAft>
                <a:spcPts val="0"/>
              </a:spcAft>
              <a:buNone/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Überschrift – Platz für eine 2-zeilige </a:t>
            </a:r>
            <a:r>
              <a:rPr lang="de-DE" dirty="0" err="1"/>
              <a:t>überschrift</a:t>
            </a:r>
            <a:r>
              <a:rPr lang="de-DE" dirty="0"/>
              <a:t> in 15 Punkt </a:t>
            </a:r>
            <a:r>
              <a:rPr lang="de-DE" dirty="0" err="1"/>
              <a:t>Grösse</a:t>
            </a:r>
            <a:r>
              <a:rPr lang="de-DE" dirty="0"/>
              <a:t> oder eine 1-zeilge Überschrift in 23 Punkt</a:t>
            </a:r>
          </a:p>
        </p:txBody>
      </p:sp>
    </p:spTree>
    <p:extLst>
      <p:ext uri="{BB962C8B-B14F-4D97-AF65-F5344CB8AC3E}">
        <p14:creationId xmlns:p14="http://schemas.microsoft.com/office/powerpoint/2010/main" val="41634411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E532D9D1-B529-E343-BBE9-62E4D07F61E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9143999" cy="5143500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27272280-9D3B-3C40-A63F-BD2C57CBC1C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0" y="3960000"/>
            <a:ext cx="1223999" cy="899044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23745700-1594-F24C-A986-31AAD1DB0C33}"/>
              </a:ext>
            </a:extLst>
          </p:cNvPr>
          <p:cNvSpPr/>
          <p:nvPr userDrawn="1"/>
        </p:nvSpPr>
        <p:spPr>
          <a:xfrm>
            <a:off x="287338" y="1232400"/>
            <a:ext cx="8280000" cy="205105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extplatzhalt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544465" y="1460019"/>
            <a:ext cx="7799434" cy="846000"/>
          </a:xfrm>
          <a:prstGeom prst="rect">
            <a:avLst/>
          </a:prstGeom>
        </p:spPr>
        <p:txBody>
          <a:bodyPr lIns="0" anchor="ctr"/>
          <a:lstStyle>
            <a:lvl1pPr marL="0" marR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de-DE" sz="3300" b="1" kern="1200" cap="all" baseline="0" dirty="0" smtClean="0">
                <a:solidFill>
                  <a:schemeClr val="tx1"/>
                </a:solidFill>
                <a:effectLst/>
                <a:latin typeface="Arial Narrow" panose="020B060402020202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          Titel des Vortrags durch Klicken      hinzufügen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544513" y="2410474"/>
            <a:ext cx="7799387" cy="538019"/>
          </a:xfrm>
          <a:prstGeom prst="rect">
            <a:avLst/>
          </a:prstGeom>
        </p:spPr>
        <p:txBody>
          <a:bodyPr/>
          <a:lstStyle>
            <a:lvl1pPr marL="0" indent="0" algn="ctr" defTabSz="6858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1300"/>
              </a:spcAft>
              <a:buClr>
                <a:schemeClr val="tx2"/>
              </a:buClr>
              <a:buFont typeface="Wingdings" pitchFamily="2" charset="2"/>
              <a:buNone/>
              <a:defRPr lang="de-DE" sz="2000" kern="1200" baseline="0" dirty="0" smtClean="0">
                <a:solidFill>
                  <a:srgbClr val="647B8A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1300"/>
              </a:spcAft>
              <a:buClr>
                <a:schemeClr val="tx2"/>
              </a:buClr>
              <a:buFont typeface="Wingdings" pitchFamily="2" charset="2"/>
              <a:buNone/>
              <a:defRPr lang="de-DE" sz="1800" kern="1200" baseline="0" dirty="0" smtClean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1300"/>
              </a:spcAft>
              <a:buClr>
                <a:schemeClr val="tx2"/>
              </a:buClr>
              <a:buFont typeface="Wingdings" pitchFamily="2" charset="2"/>
              <a:buNone/>
              <a:defRPr lang="de-DE" sz="1800" kern="1200" baseline="0" dirty="0" smtClean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1300"/>
              </a:spcAft>
              <a:buClr>
                <a:schemeClr val="tx2"/>
              </a:buClr>
              <a:buFont typeface="Wingdings" pitchFamily="2" charset="2"/>
              <a:buNone/>
              <a:defRPr lang="de-DE" sz="1800" kern="1200" baseline="0" dirty="0" smtClean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1300"/>
              </a:spcAft>
              <a:buClr>
                <a:schemeClr val="tx2"/>
              </a:buClr>
              <a:buFont typeface="Wingdings" pitchFamily="2" charset="2"/>
              <a:buNone/>
              <a:defRPr lang="de-DE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de-DE" dirty="0"/>
              <a:t>DG/</a:t>
            </a:r>
            <a:r>
              <a:rPr lang="de-DE" dirty="0" err="1"/>
              <a:t>AmtsBez</a:t>
            </a:r>
            <a:r>
              <a:rPr lang="de-DE" dirty="0"/>
              <a:t> Name durch Klicken hinzufügen</a:t>
            </a:r>
          </a:p>
        </p:txBody>
      </p:sp>
      <p:sp>
        <p:nvSpPr>
          <p:cNvPr id="33" name="Rechteck 32"/>
          <p:cNvSpPr/>
          <p:nvPr userDrawn="1"/>
        </p:nvSpPr>
        <p:spPr>
          <a:xfrm>
            <a:off x="3960000" y="0"/>
            <a:ext cx="1224000" cy="278892"/>
          </a:xfrm>
          <a:prstGeom prst="rect">
            <a:avLst/>
          </a:prstGeom>
          <a:solidFill>
            <a:srgbClr val="0044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indent="0" algn="ctr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300"/>
              </a:spcAft>
              <a:buClr>
                <a:schemeClr val="accent4"/>
              </a:buClr>
              <a:buSzPct val="120000"/>
              <a:buFontTx/>
              <a:buNone/>
            </a:pPr>
            <a:r>
              <a:rPr lang="de-DE" sz="750" b="1" kern="1200" cap="all" baseline="0" dirty="0" err="1">
                <a:solidFill>
                  <a:schemeClr val="bg1"/>
                </a:solidFill>
                <a:latin typeface="+mj-lt"/>
                <a:ea typeface="+mn-ea"/>
                <a:cs typeface="+mn-cs"/>
              </a:rPr>
              <a:t>Wir.dienen.deutschland</a:t>
            </a:r>
            <a:r>
              <a:rPr lang="de-DE" sz="750" b="1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.</a:t>
            </a:r>
          </a:p>
        </p:txBody>
      </p:sp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EF110707-EEE2-2242-9FF9-A7601AA2E8A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78" y="1461060"/>
            <a:ext cx="681649" cy="848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5236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AF1780E6-C007-B242-9034-69EBF6B0AA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9143999" cy="4964113"/>
          </a:xfrm>
          <a:prstGeom prst="rect">
            <a:avLst/>
          </a:prstGeom>
        </p:spPr>
      </p:pic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D02AB30B-0B1D-364E-AD46-BA9D800953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(Einstufungsgrad: z. B. „Offen“)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9A667F2-AF91-7B47-ABE5-ABEEAB5D8C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1676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char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C9FC737-BF8C-6A45-8F9E-908DEBE52E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964113"/>
          </a:xfrm>
          <a:solidFill>
            <a:schemeClr val="accent1"/>
          </a:solidFill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1200"/>
            </a:lvl1pPr>
          </a:lstStyle>
          <a:p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BEE68BF-85F8-314C-9293-830BFEEF1E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(Einstufungsgrad: z. B. „Offen“)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59FEDDD-0E31-0E4A-919C-C188B2EB66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88079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und Bild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7338" y="1492250"/>
            <a:ext cx="3240000" cy="3240087"/>
          </a:xfrm>
        </p:spPr>
        <p:txBody>
          <a:bodyPr>
            <a:noAutofit/>
          </a:bodyPr>
          <a:lstStyle>
            <a:lvl1pPr marL="0" indent="0">
              <a:buNone/>
              <a:defRPr lang="de-DE" smtClean="0">
                <a:effectLst/>
              </a:defRPr>
            </a:lvl1pPr>
          </a:lstStyle>
          <a:p>
            <a:r>
              <a:rPr lang="de-DE" dirty="0" err="1">
                <a:effectLst/>
                <a:latin typeface="Arial" panose="020B0604020202020204" pitchFamily="34" charset="0"/>
              </a:rPr>
              <a:t>Soloriosa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dolecto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bla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i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as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ut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estecea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ribus</a:t>
            </a:r>
            <a:r>
              <a:rPr lang="de-DE" dirty="0">
                <a:effectLst/>
                <a:latin typeface="Arial" panose="020B0604020202020204" pitchFamily="34" charset="0"/>
              </a:rPr>
              <a:t>, </a:t>
            </a:r>
            <a:r>
              <a:rPr lang="de-DE" dirty="0" err="1">
                <a:effectLst/>
                <a:latin typeface="Arial" panose="020B0604020202020204" pitchFamily="34" charset="0"/>
              </a:rPr>
              <a:t>quidia</a:t>
            </a:r>
            <a:r>
              <a:rPr lang="de-DE" dirty="0">
                <a:effectLst/>
                <a:latin typeface="Arial" panose="020B0604020202020204" pitchFamily="34" charset="0"/>
              </a:rPr>
              <a:t> quas </a:t>
            </a:r>
            <a:r>
              <a:rPr lang="de-DE" dirty="0" err="1">
                <a:effectLst/>
                <a:latin typeface="Arial" panose="020B0604020202020204" pitchFamily="34" charset="0"/>
              </a:rPr>
              <a:t>vol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recturero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volor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volum</a:t>
            </a:r>
            <a:r>
              <a:rPr lang="de-DE" dirty="0">
                <a:effectLst/>
                <a:latin typeface="Arial" panose="020B0604020202020204" pitchFamily="34" charset="0"/>
              </a:rPr>
              <a:t>, cum si </a:t>
            </a:r>
            <a:r>
              <a:rPr lang="de-DE" dirty="0" err="1">
                <a:effectLst/>
                <a:latin typeface="Arial" panose="020B0604020202020204" pitchFamily="34" charset="0"/>
              </a:rPr>
              <a:t>cuptur</a:t>
            </a:r>
            <a:r>
              <a:rPr lang="de-DE" dirty="0">
                <a:effectLst/>
                <a:latin typeface="Arial" panose="020B0604020202020204" pitchFamily="34" charset="0"/>
              </a:rPr>
              <a:t>, </a:t>
            </a:r>
            <a:r>
              <a:rPr lang="de-DE" dirty="0" err="1">
                <a:effectLst/>
                <a:latin typeface="Arial" panose="020B0604020202020204" pitchFamily="34" charset="0"/>
              </a:rPr>
              <a:t>que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eum</a:t>
            </a:r>
            <a:r>
              <a:rPr lang="de-DE" dirty="0">
                <a:effectLst/>
                <a:latin typeface="Arial" panose="020B0604020202020204" pitchFamily="34" charset="0"/>
              </a:rPr>
              <a:t> et </a:t>
            </a:r>
            <a:r>
              <a:rPr lang="de-DE" dirty="0" err="1">
                <a:effectLst/>
                <a:latin typeface="Arial" panose="020B0604020202020204" pitchFamily="34" charset="0"/>
              </a:rPr>
              <a:t>qui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que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pa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ver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facculpariat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eosandentiis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asped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moditas</a:t>
            </a:r>
            <a:r>
              <a:rPr lang="de-DE" dirty="0">
                <a:effectLst/>
                <a:latin typeface="Arial" panose="020B0604020202020204" pitchFamily="34" charset="0"/>
              </a:rPr>
              <a:t>.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(Einstufungsgrad: z. B. „Offen“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‹Nr.›</a:t>
            </a:fld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E3D6320-5680-ED48-A7F7-59F42C345D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1004887"/>
            <a:ext cx="3240000" cy="46800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1500" b="1">
                <a:latin typeface="+mj-lt"/>
              </a:defRPr>
            </a:lvl1pPr>
          </a:lstStyle>
          <a:p>
            <a:r>
              <a:rPr lang="de-DE" dirty="0"/>
              <a:t>Untertitel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5FFEAD8C-438F-2F42-A4FE-9072CD40D8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7" y="0"/>
            <a:ext cx="8569325" cy="684000"/>
          </a:xfrm>
        </p:spPr>
        <p:txBody>
          <a:bodyPr anchor="ctr" anchorCtr="0">
            <a:noAutofit/>
          </a:bodyPr>
          <a:lstStyle>
            <a:lvl1pPr marL="0" indent="0">
              <a:spcAft>
                <a:spcPts val="0"/>
              </a:spcAft>
              <a:buNone/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Überschrift – Platz für eine 2-zeilige </a:t>
            </a:r>
            <a:r>
              <a:rPr lang="de-DE" dirty="0" err="1"/>
              <a:t>überschrift</a:t>
            </a:r>
            <a:r>
              <a:rPr lang="de-DE" dirty="0"/>
              <a:t> in 15 Punkt </a:t>
            </a:r>
            <a:r>
              <a:rPr lang="de-DE" dirty="0" err="1"/>
              <a:t>Grösse</a:t>
            </a:r>
            <a:r>
              <a:rPr lang="de-DE" dirty="0"/>
              <a:t> oder eine 1-zeilge Überschrift in 23 Punkt</a:t>
            </a:r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54B8BCF7-7F4A-0646-9ACF-FCAD3203EE1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16000" y="1004888"/>
            <a:ext cx="5328000" cy="3713162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13079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7338" y="1492250"/>
            <a:ext cx="6480000" cy="3240089"/>
          </a:xfrm>
        </p:spPr>
        <p:txBody>
          <a:bodyPr>
            <a:noAutofit/>
          </a:bodyPr>
          <a:lstStyle>
            <a:lvl1pPr marL="0" indent="0">
              <a:buNone/>
              <a:defRPr lang="de-DE" smtClean="0">
                <a:effectLst/>
              </a:defRPr>
            </a:lvl1pPr>
          </a:lstStyle>
          <a:p>
            <a:r>
              <a:rPr lang="de-DE" dirty="0" err="1">
                <a:effectLst/>
                <a:latin typeface="Arial" panose="020B0604020202020204" pitchFamily="34" charset="0"/>
              </a:rPr>
              <a:t>Soloriosa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dolecto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bla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i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as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ut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estecea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ribus</a:t>
            </a:r>
            <a:r>
              <a:rPr lang="de-DE" dirty="0">
                <a:effectLst/>
                <a:latin typeface="Arial" panose="020B0604020202020204" pitchFamily="34" charset="0"/>
              </a:rPr>
              <a:t>, </a:t>
            </a:r>
            <a:r>
              <a:rPr lang="de-DE" dirty="0" err="1">
                <a:effectLst/>
                <a:latin typeface="Arial" panose="020B0604020202020204" pitchFamily="34" charset="0"/>
              </a:rPr>
              <a:t>quidia</a:t>
            </a:r>
            <a:r>
              <a:rPr lang="de-DE" dirty="0">
                <a:effectLst/>
                <a:latin typeface="Arial" panose="020B0604020202020204" pitchFamily="34" charset="0"/>
              </a:rPr>
              <a:t> quas </a:t>
            </a:r>
            <a:r>
              <a:rPr lang="de-DE" dirty="0" err="1">
                <a:effectLst/>
                <a:latin typeface="Arial" panose="020B0604020202020204" pitchFamily="34" charset="0"/>
              </a:rPr>
              <a:t>vol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recturero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volor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volum</a:t>
            </a:r>
            <a:r>
              <a:rPr lang="de-DE" dirty="0">
                <a:effectLst/>
                <a:latin typeface="Arial" panose="020B0604020202020204" pitchFamily="34" charset="0"/>
              </a:rPr>
              <a:t>, cum si </a:t>
            </a:r>
            <a:r>
              <a:rPr lang="de-DE" dirty="0" err="1">
                <a:effectLst/>
                <a:latin typeface="Arial" panose="020B0604020202020204" pitchFamily="34" charset="0"/>
              </a:rPr>
              <a:t>cuptur</a:t>
            </a:r>
            <a:r>
              <a:rPr lang="de-DE" dirty="0">
                <a:effectLst/>
                <a:latin typeface="Arial" panose="020B0604020202020204" pitchFamily="34" charset="0"/>
              </a:rPr>
              <a:t>, </a:t>
            </a:r>
            <a:r>
              <a:rPr lang="de-DE" dirty="0" err="1">
                <a:effectLst/>
                <a:latin typeface="Arial" panose="020B0604020202020204" pitchFamily="34" charset="0"/>
              </a:rPr>
              <a:t>que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eum</a:t>
            </a:r>
            <a:r>
              <a:rPr lang="de-DE" dirty="0">
                <a:effectLst/>
                <a:latin typeface="Arial" panose="020B0604020202020204" pitchFamily="34" charset="0"/>
              </a:rPr>
              <a:t> et </a:t>
            </a:r>
            <a:r>
              <a:rPr lang="de-DE" dirty="0" err="1">
                <a:effectLst/>
                <a:latin typeface="Arial" panose="020B0604020202020204" pitchFamily="34" charset="0"/>
              </a:rPr>
              <a:t>qui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que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pa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ver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facculpariat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eosandentiis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asped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moditas</a:t>
            </a:r>
            <a:r>
              <a:rPr lang="de-DE" dirty="0">
                <a:effectLst/>
                <a:latin typeface="Arial" panose="020B0604020202020204" pitchFamily="34" charset="0"/>
              </a:rPr>
              <a:t>.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Titel (Einstufungsgrad: z. B. „Offen“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‹Nr.›</a:t>
            </a:fld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E3D6320-5680-ED48-A7F7-59F42C345D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1004887"/>
            <a:ext cx="6480000" cy="46800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1500" b="1">
                <a:latin typeface="+mj-lt"/>
              </a:defRPr>
            </a:lvl1pPr>
          </a:lstStyle>
          <a:p>
            <a:r>
              <a:rPr lang="de-DE" dirty="0"/>
              <a:t>Untertitel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5FFEAD8C-438F-2F42-A4FE-9072CD40D8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7" y="0"/>
            <a:ext cx="8569325" cy="684000"/>
          </a:xfrm>
        </p:spPr>
        <p:txBody>
          <a:bodyPr anchor="ctr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Überschrift – Platz für eine 2-zeilige </a:t>
            </a:r>
            <a:r>
              <a:rPr lang="de-DE" dirty="0" err="1"/>
              <a:t>überschrift</a:t>
            </a:r>
            <a:r>
              <a:rPr lang="de-DE" dirty="0"/>
              <a:t> in 15 Punkt </a:t>
            </a:r>
            <a:r>
              <a:rPr lang="de-DE" dirty="0" err="1"/>
              <a:t>Grösse</a:t>
            </a:r>
            <a:r>
              <a:rPr lang="de-DE" dirty="0"/>
              <a:t> oder eine 1-zeilge Überschrift in 23 Punkt</a:t>
            </a:r>
          </a:p>
        </p:txBody>
      </p:sp>
    </p:spTree>
    <p:extLst>
      <p:ext uri="{BB962C8B-B14F-4D97-AF65-F5344CB8AC3E}">
        <p14:creationId xmlns:p14="http://schemas.microsoft.com/office/powerpoint/2010/main" val="16199631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ufzählungs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7338" y="1492251"/>
            <a:ext cx="6480000" cy="3240088"/>
          </a:xfrm>
        </p:spPr>
        <p:txBody>
          <a:bodyPr>
            <a:noAutofit/>
          </a:bodyPr>
          <a:lstStyle>
            <a:lvl1pPr marL="108000" indent="-108000">
              <a:buFont typeface="Wingdings" pitchFamily="2" charset="2"/>
              <a:buChar char="§"/>
              <a:defRPr lang="de-DE" smtClean="0">
                <a:effectLst/>
              </a:defRPr>
            </a:lvl1pPr>
          </a:lstStyle>
          <a:p>
            <a:r>
              <a:rPr lang="de-DE" dirty="0" err="1">
                <a:effectLst/>
                <a:latin typeface="Arial" panose="020B0604020202020204" pitchFamily="34" charset="0"/>
              </a:rPr>
              <a:t>Soloriosa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dolecto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bla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i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as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ut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estecea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ribus</a:t>
            </a:r>
            <a:r>
              <a:rPr lang="de-DE" dirty="0">
                <a:effectLst/>
                <a:latin typeface="Arial" panose="020B0604020202020204" pitchFamily="34" charset="0"/>
              </a:rPr>
              <a:t>, </a:t>
            </a:r>
            <a:r>
              <a:rPr lang="de-DE" dirty="0" err="1">
                <a:effectLst/>
                <a:latin typeface="Arial" panose="020B0604020202020204" pitchFamily="34" charset="0"/>
              </a:rPr>
              <a:t>quidia</a:t>
            </a:r>
            <a:r>
              <a:rPr lang="de-DE" dirty="0">
                <a:effectLst/>
                <a:latin typeface="Arial" panose="020B0604020202020204" pitchFamily="34" charset="0"/>
              </a:rPr>
              <a:t> quas </a:t>
            </a:r>
            <a:r>
              <a:rPr lang="de-DE" dirty="0" err="1">
                <a:effectLst/>
                <a:latin typeface="Arial" panose="020B0604020202020204" pitchFamily="34" charset="0"/>
              </a:rPr>
              <a:t>vol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recturero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volor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volum</a:t>
            </a:r>
            <a:r>
              <a:rPr lang="de-DE" dirty="0">
                <a:effectLst/>
                <a:latin typeface="Arial" panose="020B0604020202020204" pitchFamily="34" charset="0"/>
              </a:rPr>
              <a:t>, cum si </a:t>
            </a:r>
            <a:r>
              <a:rPr lang="de-DE" dirty="0" err="1">
                <a:effectLst/>
                <a:latin typeface="Arial" panose="020B0604020202020204" pitchFamily="34" charset="0"/>
              </a:rPr>
              <a:t>cuptur</a:t>
            </a:r>
            <a:r>
              <a:rPr lang="de-DE" dirty="0">
                <a:effectLst/>
                <a:latin typeface="Arial" panose="020B0604020202020204" pitchFamily="34" charset="0"/>
              </a:rPr>
              <a:t>, </a:t>
            </a:r>
            <a:r>
              <a:rPr lang="de-DE" dirty="0" err="1">
                <a:effectLst/>
                <a:latin typeface="Arial" panose="020B0604020202020204" pitchFamily="34" charset="0"/>
              </a:rPr>
              <a:t>que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eum</a:t>
            </a:r>
            <a:r>
              <a:rPr lang="de-DE" dirty="0">
                <a:effectLst/>
                <a:latin typeface="Arial" panose="020B0604020202020204" pitchFamily="34" charset="0"/>
              </a:rPr>
              <a:t> et </a:t>
            </a:r>
            <a:r>
              <a:rPr lang="de-DE" dirty="0" err="1">
                <a:effectLst/>
                <a:latin typeface="Arial" panose="020B0604020202020204" pitchFamily="34" charset="0"/>
              </a:rPr>
              <a:t>qui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que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pa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ver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facculpariat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eosandentiis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asped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moditas</a:t>
            </a:r>
            <a:r>
              <a:rPr lang="de-DE" dirty="0">
                <a:effectLst/>
                <a:latin typeface="Arial" panose="020B0604020202020204" pitchFamily="34" charset="0"/>
              </a:rPr>
              <a:t>.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(Einstufungsgrad: z. B. „Offen“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‹Nr.›</a:t>
            </a:fld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E3D6320-5680-ED48-A7F7-59F42C345D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1004887"/>
            <a:ext cx="6480000" cy="46800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1500" b="1">
                <a:latin typeface="+mj-lt"/>
              </a:defRPr>
            </a:lvl1pPr>
          </a:lstStyle>
          <a:p>
            <a:r>
              <a:rPr lang="de-DE" dirty="0"/>
              <a:t>Untertitel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5FFEAD8C-438F-2F42-A4FE-9072CD40D8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7" y="0"/>
            <a:ext cx="8569325" cy="684000"/>
          </a:xfrm>
        </p:spPr>
        <p:txBody>
          <a:bodyPr anchor="ctr" anchorCtr="0">
            <a:noAutofit/>
          </a:bodyPr>
          <a:lstStyle>
            <a:lvl1pPr marL="0" indent="0">
              <a:spcAft>
                <a:spcPts val="0"/>
              </a:spcAft>
              <a:buNone/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Überschrift – Platz für eine 2-zeilige </a:t>
            </a:r>
            <a:r>
              <a:rPr lang="de-DE" dirty="0" err="1"/>
              <a:t>überschrift</a:t>
            </a:r>
            <a:r>
              <a:rPr lang="de-DE" dirty="0"/>
              <a:t> in 15 Punkt </a:t>
            </a:r>
            <a:r>
              <a:rPr lang="de-DE" dirty="0" err="1"/>
              <a:t>Grösse</a:t>
            </a:r>
            <a:r>
              <a:rPr lang="de-DE" dirty="0"/>
              <a:t> oder eine 1-zeilge Überschrift in 23 Punkt</a:t>
            </a:r>
          </a:p>
        </p:txBody>
      </p:sp>
    </p:spTree>
    <p:extLst>
      <p:ext uri="{BB962C8B-B14F-4D97-AF65-F5344CB8AC3E}">
        <p14:creationId xmlns:p14="http://schemas.microsoft.com/office/powerpoint/2010/main" val="23351800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äulen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976662" y="1502435"/>
            <a:ext cx="2880000" cy="3229903"/>
          </a:xfrm>
        </p:spPr>
        <p:txBody>
          <a:bodyPr>
            <a:noAutofit/>
          </a:bodyPr>
          <a:lstStyle>
            <a:lvl1pPr marL="108000" indent="-108000">
              <a:buFont typeface="Wingdings" pitchFamily="2" charset="2"/>
              <a:buChar char="§"/>
              <a:defRPr lang="de-DE" smtClean="0">
                <a:effectLst/>
              </a:defRPr>
            </a:lvl1pPr>
          </a:lstStyle>
          <a:p>
            <a:r>
              <a:rPr lang="de-DE" dirty="0" err="1">
                <a:effectLst/>
                <a:latin typeface="Arial" panose="020B0604020202020204" pitchFamily="34" charset="0"/>
              </a:rPr>
              <a:t>Soloriosa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dolecto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bla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i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as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ut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estecea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ribus</a:t>
            </a:r>
            <a:r>
              <a:rPr lang="de-DE" dirty="0">
                <a:effectLst/>
                <a:latin typeface="Arial" panose="020B0604020202020204" pitchFamily="34" charset="0"/>
              </a:rPr>
              <a:t>, </a:t>
            </a:r>
            <a:r>
              <a:rPr lang="de-DE" dirty="0" err="1">
                <a:effectLst/>
                <a:latin typeface="Arial" panose="020B0604020202020204" pitchFamily="34" charset="0"/>
              </a:rPr>
              <a:t>quidia</a:t>
            </a:r>
            <a:r>
              <a:rPr lang="de-DE" dirty="0">
                <a:effectLst/>
                <a:latin typeface="Arial" panose="020B0604020202020204" pitchFamily="34" charset="0"/>
              </a:rPr>
              <a:t> quas </a:t>
            </a:r>
            <a:r>
              <a:rPr lang="de-DE" dirty="0" err="1">
                <a:effectLst/>
                <a:latin typeface="Arial" panose="020B0604020202020204" pitchFamily="34" charset="0"/>
              </a:rPr>
              <a:t>vol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recturero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volor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volum</a:t>
            </a:r>
            <a:r>
              <a:rPr lang="de-DE" dirty="0">
                <a:effectLst/>
                <a:latin typeface="Arial" panose="020B0604020202020204" pitchFamily="34" charset="0"/>
              </a:rPr>
              <a:t>, cum si </a:t>
            </a:r>
            <a:r>
              <a:rPr lang="de-DE" dirty="0" err="1">
                <a:effectLst/>
                <a:latin typeface="Arial" panose="020B0604020202020204" pitchFamily="34" charset="0"/>
              </a:rPr>
              <a:t>cuptur</a:t>
            </a:r>
            <a:r>
              <a:rPr lang="de-DE" dirty="0">
                <a:effectLst/>
                <a:latin typeface="Arial" panose="020B0604020202020204" pitchFamily="34" charset="0"/>
              </a:rPr>
              <a:t>, </a:t>
            </a:r>
            <a:r>
              <a:rPr lang="de-DE" dirty="0" err="1">
                <a:effectLst/>
                <a:latin typeface="Arial" panose="020B0604020202020204" pitchFamily="34" charset="0"/>
              </a:rPr>
              <a:t>que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eum</a:t>
            </a:r>
            <a:r>
              <a:rPr lang="de-DE" dirty="0">
                <a:effectLst/>
                <a:latin typeface="Arial" panose="020B0604020202020204" pitchFamily="34" charset="0"/>
              </a:rPr>
              <a:t> et </a:t>
            </a:r>
            <a:r>
              <a:rPr lang="de-DE" dirty="0" err="1">
                <a:effectLst/>
                <a:latin typeface="Arial" panose="020B0604020202020204" pitchFamily="34" charset="0"/>
              </a:rPr>
              <a:t>qui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que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pa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ver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facculpariat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eosandentiis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asped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moditas</a:t>
            </a:r>
            <a:r>
              <a:rPr lang="de-DE" dirty="0">
                <a:effectLst/>
                <a:latin typeface="Arial" panose="020B0604020202020204" pitchFamily="34" charset="0"/>
              </a:rPr>
              <a:t>.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(Einstufungsgrad: z. B. „Offen“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‹Nr.›</a:t>
            </a:fld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E3D6320-5680-ED48-A7F7-59F42C345D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1004887"/>
            <a:ext cx="6480000" cy="46800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1500" b="1">
                <a:latin typeface="+mj-lt"/>
              </a:defRPr>
            </a:lvl1pPr>
          </a:lstStyle>
          <a:p>
            <a:r>
              <a:rPr lang="de-DE" dirty="0"/>
              <a:t>Untertitel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5FFEAD8C-438F-2F42-A4FE-9072CD40D8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7" y="0"/>
            <a:ext cx="8569325" cy="684000"/>
          </a:xfrm>
        </p:spPr>
        <p:txBody>
          <a:bodyPr anchor="ctr" anchorCtr="0">
            <a:noAutofit/>
          </a:bodyPr>
          <a:lstStyle>
            <a:lvl1pPr marL="0" indent="0">
              <a:spcAft>
                <a:spcPts val="0"/>
              </a:spcAft>
              <a:buNone/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Überschrift – Platz für eine 2-zeilige </a:t>
            </a:r>
            <a:r>
              <a:rPr lang="de-DE" dirty="0" err="1"/>
              <a:t>überschrift</a:t>
            </a:r>
            <a:r>
              <a:rPr lang="de-DE" dirty="0"/>
              <a:t> in 15 Punkt </a:t>
            </a:r>
            <a:r>
              <a:rPr lang="de-DE" dirty="0" err="1"/>
              <a:t>Grösse</a:t>
            </a:r>
            <a:r>
              <a:rPr lang="de-DE" dirty="0"/>
              <a:t> oder eine 1-zeilge Überschrift in 23 Punkt</a:t>
            </a:r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E500588F-41F5-FB4F-83EE-473FF8FEBC1E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287338" y="1492250"/>
            <a:ext cx="5399087" cy="3240088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511350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976662" y="1502435"/>
            <a:ext cx="2880000" cy="3229903"/>
          </a:xfrm>
        </p:spPr>
        <p:txBody>
          <a:bodyPr>
            <a:noAutofit/>
          </a:bodyPr>
          <a:lstStyle>
            <a:lvl1pPr marL="108000" indent="-108000">
              <a:buFont typeface="Wingdings" pitchFamily="2" charset="2"/>
              <a:buChar char="§"/>
              <a:defRPr lang="de-DE" smtClean="0">
                <a:effectLst/>
              </a:defRPr>
            </a:lvl1pPr>
          </a:lstStyle>
          <a:p>
            <a:r>
              <a:rPr lang="de-DE" dirty="0" err="1">
                <a:effectLst/>
                <a:latin typeface="Arial" panose="020B0604020202020204" pitchFamily="34" charset="0"/>
              </a:rPr>
              <a:t>Soloriosa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dolecto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bla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i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as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ut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estecea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ribus</a:t>
            </a:r>
            <a:r>
              <a:rPr lang="de-DE" dirty="0">
                <a:effectLst/>
                <a:latin typeface="Arial" panose="020B0604020202020204" pitchFamily="34" charset="0"/>
              </a:rPr>
              <a:t>, </a:t>
            </a:r>
            <a:r>
              <a:rPr lang="de-DE" dirty="0" err="1">
                <a:effectLst/>
                <a:latin typeface="Arial" panose="020B0604020202020204" pitchFamily="34" charset="0"/>
              </a:rPr>
              <a:t>quidia</a:t>
            </a:r>
            <a:r>
              <a:rPr lang="de-DE" dirty="0">
                <a:effectLst/>
                <a:latin typeface="Arial" panose="020B0604020202020204" pitchFamily="34" charset="0"/>
              </a:rPr>
              <a:t> quas </a:t>
            </a:r>
            <a:r>
              <a:rPr lang="de-DE" dirty="0" err="1">
                <a:effectLst/>
                <a:latin typeface="Arial" panose="020B0604020202020204" pitchFamily="34" charset="0"/>
              </a:rPr>
              <a:t>vol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recturero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volor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volum</a:t>
            </a:r>
            <a:r>
              <a:rPr lang="de-DE" dirty="0">
                <a:effectLst/>
                <a:latin typeface="Arial" panose="020B0604020202020204" pitchFamily="34" charset="0"/>
              </a:rPr>
              <a:t>, cum si </a:t>
            </a:r>
            <a:r>
              <a:rPr lang="de-DE" dirty="0" err="1">
                <a:effectLst/>
                <a:latin typeface="Arial" panose="020B0604020202020204" pitchFamily="34" charset="0"/>
              </a:rPr>
              <a:t>cuptur</a:t>
            </a:r>
            <a:r>
              <a:rPr lang="de-DE" dirty="0">
                <a:effectLst/>
                <a:latin typeface="Arial" panose="020B0604020202020204" pitchFamily="34" charset="0"/>
              </a:rPr>
              <a:t>, </a:t>
            </a:r>
            <a:r>
              <a:rPr lang="de-DE" dirty="0" err="1">
                <a:effectLst/>
                <a:latin typeface="Arial" panose="020B0604020202020204" pitchFamily="34" charset="0"/>
              </a:rPr>
              <a:t>que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eum</a:t>
            </a:r>
            <a:r>
              <a:rPr lang="de-DE" dirty="0">
                <a:effectLst/>
                <a:latin typeface="Arial" panose="020B0604020202020204" pitchFamily="34" charset="0"/>
              </a:rPr>
              <a:t> et </a:t>
            </a:r>
            <a:r>
              <a:rPr lang="de-DE" dirty="0" err="1">
                <a:effectLst/>
                <a:latin typeface="Arial" panose="020B0604020202020204" pitchFamily="34" charset="0"/>
              </a:rPr>
              <a:t>qui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que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pa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ver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facculpariat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eosandentiis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asped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moditas</a:t>
            </a:r>
            <a:r>
              <a:rPr lang="de-DE" dirty="0">
                <a:effectLst/>
                <a:latin typeface="Arial" panose="020B0604020202020204" pitchFamily="34" charset="0"/>
              </a:rPr>
              <a:t>.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(Einstufungsgrad: z. B. „Offen“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‹Nr.›</a:t>
            </a:fld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E3D6320-5680-ED48-A7F7-59F42C345D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1004887"/>
            <a:ext cx="6480000" cy="46800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1500" b="1">
                <a:latin typeface="+mj-lt"/>
              </a:defRPr>
            </a:lvl1pPr>
          </a:lstStyle>
          <a:p>
            <a:r>
              <a:rPr lang="de-DE" dirty="0"/>
              <a:t>Untertitel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5FFEAD8C-438F-2F42-A4FE-9072CD40D8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7" y="0"/>
            <a:ext cx="8569325" cy="684000"/>
          </a:xfrm>
        </p:spPr>
        <p:txBody>
          <a:bodyPr anchor="ctr" anchorCtr="0">
            <a:noAutofit/>
          </a:bodyPr>
          <a:lstStyle>
            <a:lvl1pPr marL="0" indent="0">
              <a:spcAft>
                <a:spcPts val="0"/>
              </a:spcAft>
              <a:buNone/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Überschrift – Platz für eine 2-zeilige </a:t>
            </a:r>
            <a:r>
              <a:rPr lang="de-DE" dirty="0" err="1"/>
              <a:t>überschrift</a:t>
            </a:r>
            <a:r>
              <a:rPr lang="de-DE" dirty="0"/>
              <a:t> in 15 Punkt </a:t>
            </a:r>
            <a:r>
              <a:rPr lang="de-DE" dirty="0" err="1"/>
              <a:t>Grösse</a:t>
            </a:r>
            <a:r>
              <a:rPr lang="de-DE" dirty="0"/>
              <a:t> oder eine 1-zeilge Überschrift in 23 Punkt</a:t>
            </a:r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CA21C0A4-2921-F14C-A83C-320D0FC3404A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287338" y="1501775"/>
            <a:ext cx="5400000" cy="3230563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1189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87337" y="1502435"/>
            <a:ext cx="3600000" cy="3229903"/>
          </a:xfrm>
          <a:solidFill>
            <a:schemeClr val="accent1"/>
          </a:solidFill>
        </p:spPr>
        <p:txBody>
          <a:bodyPr lIns="108000" tIns="108000" rIns="108000" bIns="108000">
            <a:noAutofit/>
          </a:bodyPr>
          <a:lstStyle>
            <a:lvl1pPr marL="108000" indent="-108000">
              <a:buFont typeface="Wingdings" pitchFamily="2" charset="2"/>
              <a:buChar char="§"/>
              <a:defRPr lang="de-DE" smtClean="0">
                <a:effectLst/>
              </a:defRPr>
            </a:lvl1pPr>
          </a:lstStyle>
          <a:p>
            <a:r>
              <a:rPr lang="de-DE" dirty="0" err="1">
                <a:effectLst/>
                <a:latin typeface="Arial" panose="020B0604020202020204" pitchFamily="34" charset="0"/>
              </a:rPr>
              <a:t>Soloriosa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dolecto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bla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i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as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ut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estecea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ribus</a:t>
            </a:r>
            <a:r>
              <a:rPr lang="de-DE" dirty="0">
                <a:effectLst/>
                <a:latin typeface="Arial" panose="020B0604020202020204" pitchFamily="34" charset="0"/>
              </a:rPr>
              <a:t>, </a:t>
            </a:r>
            <a:r>
              <a:rPr lang="de-DE" dirty="0" err="1">
                <a:effectLst/>
                <a:latin typeface="Arial" panose="020B0604020202020204" pitchFamily="34" charset="0"/>
              </a:rPr>
              <a:t>quidia</a:t>
            </a:r>
            <a:r>
              <a:rPr lang="de-DE" dirty="0">
                <a:effectLst/>
                <a:latin typeface="Arial" panose="020B0604020202020204" pitchFamily="34" charset="0"/>
              </a:rPr>
              <a:t> quas </a:t>
            </a:r>
            <a:r>
              <a:rPr lang="de-DE" dirty="0" err="1">
                <a:effectLst/>
                <a:latin typeface="Arial" panose="020B0604020202020204" pitchFamily="34" charset="0"/>
              </a:rPr>
              <a:t>vol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recturero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volor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volum</a:t>
            </a:r>
            <a:r>
              <a:rPr lang="de-DE" dirty="0">
                <a:effectLst/>
                <a:latin typeface="Arial" panose="020B0604020202020204" pitchFamily="34" charset="0"/>
              </a:rPr>
              <a:t>, cum si </a:t>
            </a:r>
            <a:r>
              <a:rPr lang="de-DE" dirty="0" err="1">
                <a:effectLst/>
                <a:latin typeface="Arial" panose="020B0604020202020204" pitchFamily="34" charset="0"/>
              </a:rPr>
              <a:t>cuptur</a:t>
            </a:r>
            <a:r>
              <a:rPr lang="de-DE" dirty="0">
                <a:effectLst/>
                <a:latin typeface="Arial" panose="020B0604020202020204" pitchFamily="34" charset="0"/>
              </a:rPr>
              <a:t>, </a:t>
            </a:r>
            <a:r>
              <a:rPr lang="de-DE" dirty="0" err="1">
                <a:effectLst/>
                <a:latin typeface="Arial" panose="020B0604020202020204" pitchFamily="34" charset="0"/>
              </a:rPr>
              <a:t>que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eum</a:t>
            </a:r>
            <a:r>
              <a:rPr lang="de-DE" dirty="0">
                <a:effectLst/>
                <a:latin typeface="Arial" panose="020B0604020202020204" pitchFamily="34" charset="0"/>
              </a:rPr>
              <a:t> et </a:t>
            </a:r>
            <a:r>
              <a:rPr lang="de-DE" dirty="0" err="1">
                <a:effectLst/>
                <a:latin typeface="Arial" panose="020B0604020202020204" pitchFamily="34" charset="0"/>
              </a:rPr>
              <a:t>qui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que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pa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ver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facculpariat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eosandentiis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asped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moditas</a:t>
            </a:r>
            <a:r>
              <a:rPr lang="de-DE" dirty="0">
                <a:effectLst/>
                <a:latin typeface="Arial" panose="020B0604020202020204" pitchFamily="34" charset="0"/>
              </a:rPr>
              <a:t>.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(Einstufungsgrad: z. B. „Offen“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‹Nr.›</a:t>
            </a:fld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E3D6320-5680-ED48-A7F7-59F42C345D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1004887"/>
            <a:ext cx="6480000" cy="46800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None/>
              <a:defRPr sz="1500" b="1">
                <a:latin typeface="+mj-lt"/>
              </a:defRPr>
            </a:lvl1pPr>
          </a:lstStyle>
          <a:p>
            <a:r>
              <a:rPr lang="de-DE" dirty="0"/>
              <a:t>Untertitel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5FFEAD8C-438F-2F42-A4FE-9072CD40D8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337" y="0"/>
            <a:ext cx="8569325" cy="684000"/>
          </a:xfrm>
        </p:spPr>
        <p:txBody>
          <a:bodyPr anchor="ctr" anchorCtr="0">
            <a:noAutofit/>
          </a:bodyPr>
          <a:lstStyle>
            <a:lvl1pPr marL="0" indent="0">
              <a:spcAft>
                <a:spcPts val="0"/>
              </a:spcAft>
              <a:buNone/>
              <a:defRPr sz="1500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Überschrift – Platz für eine 2-zeilige </a:t>
            </a:r>
            <a:r>
              <a:rPr lang="de-DE" dirty="0" err="1"/>
              <a:t>überschrift</a:t>
            </a:r>
            <a:r>
              <a:rPr lang="de-DE" dirty="0"/>
              <a:t> in 15 Punkt </a:t>
            </a:r>
            <a:r>
              <a:rPr lang="de-DE" dirty="0" err="1"/>
              <a:t>Grösse</a:t>
            </a:r>
            <a:r>
              <a:rPr lang="de-DE" dirty="0"/>
              <a:t> oder eine 1-zeilge Überschrift in 23 Punk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69AD25E-E81D-174E-97E3-6B7B523599C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256662" y="1502435"/>
            <a:ext cx="3600000" cy="3229903"/>
          </a:xfrm>
          <a:solidFill>
            <a:schemeClr val="accent1"/>
          </a:solidFill>
        </p:spPr>
        <p:txBody>
          <a:bodyPr lIns="108000" tIns="108000" rIns="108000" bIns="108000">
            <a:noAutofit/>
          </a:bodyPr>
          <a:lstStyle>
            <a:lvl1pPr marL="108000" indent="-108000">
              <a:buFont typeface="Wingdings" pitchFamily="2" charset="2"/>
              <a:buChar char="§"/>
              <a:defRPr lang="de-DE" smtClean="0">
                <a:effectLst/>
              </a:defRPr>
            </a:lvl1pPr>
          </a:lstStyle>
          <a:p>
            <a:r>
              <a:rPr lang="de-DE" dirty="0" err="1">
                <a:effectLst/>
                <a:latin typeface="Arial" panose="020B0604020202020204" pitchFamily="34" charset="0"/>
              </a:rPr>
              <a:t>Soloriosa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dolecto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bla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i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as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ut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estecea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ribus</a:t>
            </a:r>
            <a:r>
              <a:rPr lang="de-DE" dirty="0">
                <a:effectLst/>
                <a:latin typeface="Arial" panose="020B0604020202020204" pitchFamily="34" charset="0"/>
              </a:rPr>
              <a:t>, </a:t>
            </a:r>
            <a:r>
              <a:rPr lang="de-DE" dirty="0" err="1">
                <a:effectLst/>
                <a:latin typeface="Arial" panose="020B0604020202020204" pitchFamily="34" charset="0"/>
              </a:rPr>
              <a:t>quidia</a:t>
            </a:r>
            <a:r>
              <a:rPr lang="de-DE" dirty="0">
                <a:effectLst/>
                <a:latin typeface="Arial" panose="020B0604020202020204" pitchFamily="34" charset="0"/>
              </a:rPr>
              <a:t> quas </a:t>
            </a:r>
            <a:r>
              <a:rPr lang="de-DE" dirty="0" err="1">
                <a:effectLst/>
                <a:latin typeface="Arial" panose="020B0604020202020204" pitchFamily="34" charset="0"/>
              </a:rPr>
              <a:t>vol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recturero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volor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volum</a:t>
            </a:r>
            <a:r>
              <a:rPr lang="de-DE" dirty="0">
                <a:effectLst/>
                <a:latin typeface="Arial" panose="020B0604020202020204" pitchFamily="34" charset="0"/>
              </a:rPr>
              <a:t>, cum si </a:t>
            </a:r>
            <a:r>
              <a:rPr lang="de-DE" dirty="0" err="1">
                <a:effectLst/>
                <a:latin typeface="Arial" panose="020B0604020202020204" pitchFamily="34" charset="0"/>
              </a:rPr>
              <a:t>cuptur</a:t>
            </a:r>
            <a:r>
              <a:rPr lang="de-DE" dirty="0">
                <a:effectLst/>
                <a:latin typeface="Arial" panose="020B0604020202020204" pitchFamily="34" charset="0"/>
              </a:rPr>
              <a:t>, </a:t>
            </a:r>
            <a:r>
              <a:rPr lang="de-DE" dirty="0" err="1">
                <a:effectLst/>
                <a:latin typeface="Arial" panose="020B0604020202020204" pitchFamily="34" charset="0"/>
              </a:rPr>
              <a:t>que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eum</a:t>
            </a:r>
            <a:r>
              <a:rPr lang="de-DE" dirty="0">
                <a:effectLst/>
                <a:latin typeface="Arial" panose="020B0604020202020204" pitchFamily="34" charset="0"/>
              </a:rPr>
              <a:t> et </a:t>
            </a:r>
            <a:r>
              <a:rPr lang="de-DE" dirty="0" err="1">
                <a:effectLst/>
                <a:latin typeface="Arial" panose="020B0604020202020204" pitchFamily="34" charset="0"/>
              </a:rPr>
              <a:t>qui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que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pa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verum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facculpariat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eosandentiis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asped</a:t>
            </a:r>
            <a:r>
              <a:rPr lang="de-DE" dirty="0"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effectLst/>
                <a:latin typeface="Arial" panose="020B0604020202020204" pitchFamily="34" charset="0"/>
              </a:rPr>
              <a:t>moditas</a:t>
            </a:r>
            <a:r>
              <a:rPr lang="de-DE" dirty="0">
                <a:effectLst/>
                <a:latin typeface="Arial" panose="020B0604020202020204" pitchFamily="34" charset="0"/>
              </a:rPr>
              <a:t>.</a:t>
            </a:r>
            <a:endParaRPr lang="en-US" dirty="0"/>
          </a:p>
        </p:txBody>
      </p:sp>
      <p:sp>
        <p:nvSpPr>
          <p:cNvPr id="2" name="Dreieck 1">
            <a:extLst>
              <a:ext uri="{FF2B5EF4-FFF2-40B4-BE49-F238E27FC236}">
                <a16:creationId xmlns:a16="http://schemas.microsoft.com/office/drawing/2014/main" id="{4360B11A-0927-4D41-A11C-F0CA0346A391}"/>
              </a:ext>
            </a:extLst>
          </p:cNvPr>
          <p:cNvSpPr/>
          <p:nvPr userDrawn="1"/>
        </p:nvSpPr>
        <p:spPr>
          <a:xfrm rot="5400000">
            <a:off x="2942274" y="2670616"/>
            <a:ext cx="3259452" cy="864000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49466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7748B1C6-B46F-324B-89B7-C463650BB960}"/>
              </a:ext>
            </a:extLst>
          </p:cNvPr>
          <p:cNvSpPr/>
          <p:nvPr userDrawn="1"/>
        </p:nvSpPr>
        <p:spPr>
          <a:xfrm>
            <a:off x="0" y="4963500"/>
            <a:ext cx="9144000" cy="180000"/>
          </a:xfrm>
          <a:prstGeom prst="rect">
            <a:avLst/>
          </a:prstGeom>
          <a:solidFill>
            <a:srgbClr val="AEBB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7337" y="1480184"/>
            <a:ext cx="8569325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7338" y="2946542"/>
            <a:ext cx="8569324" cy="11438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Mastertextformat bearbeiten
Zweite Ebene
Dritte Ebene
Vierte Ebene
Fünfte Eben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72000" y="4963500"/>
            <a:ext cx="3600000" cy="180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ctr">
              <a:defRPr sz="650">
                <a:solidFill>
                  <a:schemeClr val="tx1"/>
                </a:solidFill>
              </a:defRPr>
            </a:lvl1pPr>
          </a:lstStyle>
          <a:p>
            <a:r>
              <a:rPr lang="de-DE"/>
              <a:t>Titel (Einstufungsgrad: z. B. „Offen“)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76662" y="4963500"/>
            <a:ext cx="1080000" cy="180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650">
                <a:solidFill>
                  <a:schemeClr val="tx1"/>
                </a:solidFill>
              </a:defRPr>
            </a:lvl1pPr>
          </a:lstStyle>
          <a:p>
            <a:fld id="{2C03746F-B42A-474D-94FA-02D6826DE61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BB21C0E-B258-C342-9000-E6239B3E04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9143999" cy="683288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B837632D-5BB7-224E-8C4E-04BAF649AA81}"/>
              </a:ext>
            </a:extLst>
          </p:cNvPr>
          <p:cNvSpPr/>
          <p:nvPr userDrawn="1"/>
        </p:nvSpPr>
        <p:spPr>
          <a:xfrm>
            <a:off x="0" y="1"/>
            <a:ext cx="9144000" cy="683287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BF17E3-89B0-461C-9976-3B872A3E1994}"/>
              </a:ext>
            </a:extLst>
          </p:cNvPr>
          <p:cNvSpPr/>
          <p:nvPr userDrawn="1"/>
        </p:nvSpPr>
        <p:spPr>
          <a:xfrm>
            <a:off x="287338" y="4964113"/>
            <a:ext cx="1460656" cy="1923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650" dirty="0"/>
              <a:t>www.</a:t>
            </a:r>
            <a:r>
              <a:rPr lang="de-DE" sz="650" dirty="0">
                <a:solidFill>
                  <a:srgbClr val="C00000"/>
                </a:solidFill>
              </a:rPr>
              <a:t>planungsamt</a:t>
            </a:r>
            <a:r>
              <a:rPr lang="de-DE" sz="650" dirty="0"/>
              <a:t>.bundeswehr.de</a:t>
            </a:r>
          </a:p>
        </p:txBody>
      </p:sp>
    </p:spTree>
    <p:extLst>
      <p:ext uri="{BB962C8B-B14F-4D97-AF65-F5344CB8AC3E}">
        <p14:creationId xmlns:p14="http://schemas.microsoft.com/office/powerpoint/2010/main" val="4158697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5" r:id="rId2"/>
    <p:sldLayoutId id="2147483676" r:id="rId3"/>
    <p:sldLayoutId id="2147483662" r:id="rId4"/>
    <p:sldLayoutId id="2147483677" r:id="rId5"/>
    <p:sldLayoutId id="2147483678" r:id="rId6"/>
    <p:sldLayoutId id="2147483680" r:id="rId7"/>
    <p:sldLayoutId id="2147483683" r:id="rId8"/>
    <p:sldLayoutId id="2147483681" r:id="rId9"/>
    <p:sldLayoutId id="2147483679" r:id="rId10"/>
    <p:sldLayoutId id="2147483674" r:id="rId11"/>
    <p:sldLayoutId id="2147483682" r:id="rId12"/>
    <p:sldLayoutId id="2147483684" r:id="rId13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08000" indent="-108000" algn="l" defTabSz="685800" rtl="0" eaLnBrk="1" latinLnBrk="0" hangingPunct="1">
        <a:lnSpc>
          <a:spcPct val="90000"/>
        </a:lnSpc>
        <a:spcBef>
          <a:spcPts val="0"/>
        </a:spcBef>
        <a:spcAft>
          <a:spcPts val="1300"/>
        </a:spcAft>
        <a:buClr>
          <a:schemeClr val="tx2"/>
        </a:buClr>
        <a:buFont typeface="Wingdings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pos="181" userDrawn="1">
          <p15:clr>
            <a:srgbClr val="F26B43"/>
          </p15:clr>
        </p15:guide>
        <p15:guide id="4" pos="5579" userDrawn="1">
          <p15:clr>
            <a:srgbClr val="F26B43"/>
          </p15:clr>
        </p15:guide>
        <p15:guide id="5" orient="horz" pos="3127" userDrawn="1">
          <p15:clr>
            <a:srgbClr val="F26B43"/>
          </p15:clr>
        </p15:guide>
        <p15:guide id="6" orient="horz" pos="633" userDrawn="1">
          <p15:clr>
            <a:srgbClr val="F26B43"/>
          </p15:clr>
        </p15:guide>
        <p15:guide id="7" orient="horz" pos="2981" userDrawn="1">
          <p15:clr>
            <a:srgbClr val="F26B43"/>
          </p15:clr>
        </p15:guide>
        <p15:guide id="8" pos="4263" userDrawn="1">
          <p15:clr>
            <a:srgbClr val="F26B43"/>
          </p15:clr>
        </p15:guide>
        <p15:guide id="9" orient="horz" pos="429" userDrawn="1">
          <p15:clr>
            <a:srgbClr val="F26B43"/>
          </p15:clr>
        </p15:guide>
        <p15:guide id="10" orient="horz" pos="9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8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notesSlide" Target="../notesSlides/notesSlide4.xml"/><Relationship Id="rId2" Type="http://schemas.openxmlformats.org/officeDocument/2006/relationships/tags" Target="../tags/tag2.xml"/><Relationship Id="rId16" Type="http://schemas.openxmlformats.org/officeDocument/2006/relationships/slideLayout" Target="../slideLayouts/slideLayout5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jpeg"/><Relationship Id="rId7" Type="http://schemas.openxmlformats.org/officeDocument/2006/relationships/image" Target="../media/image13.jpg"/><Relationship Id="rId12" Type="http://schemas.openxmlformats.org/officeDocument/2006/relationships/image" Target="../media/image1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png"/><Relationship Id="rId11" Type="http://schemas.openxmlformats.org/officeDocument/2006/relationships/image" Target="../media/image17.emf"/><Relationship Id="rId5" Type="http://schemas.openxmlformats.org/officeDocument/2006/relationships/image" Target="../media/image11.jpg"/><Relationship Id="rId10" Type="http://schemas.openxmlformats.org/officeDocument/2006/relationships/image" Target="../media/image16.emf"/><Relationship Id="rId4" Type="http://schemas.openxmlformats.org/officeDocument/2006/relationships/image" Target="../media/image10.jpg"/><Relationship Id="rId9" Type="http://schemas.openxmlformats.org/officeDocument/2006/relationships/image" Target="../media/image15.jp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6" Type="http://schemas.openxmlformats.org/officeDocument/2006/relationships/tags" Target="../tags/tag41.xml"/><Relationship Id="rId21" Type="http://schemas.openxmlformats.org/officeDocument/2006/relationships/tags" Target="../tags/tag36.xml"/><Relationship Id="rId42" Type="http://schemas.openxmlformats.org/officeDocument/2006/relationships/tags" Target="../tags/tag57.xml"/><Relationship Id="rId47" Type="http://schemas.openxmlformats.org/officeDocument/2006/relationships/tags" Target="../tags/tag62.xml"/><Relationship Id="rId63" Type="http://schemas.openxmlformats.org/officeDocument/2006/relationships/tags" Target="../tags/tag78.xml"/><Relationship Id="rId68" Type="http://schemas.openxmlformats.org/officeDocument/2006/relationships/image" Target="../media/image19.png"/><Relationship Id="rId84" Type="http://schemas.openxmlformats.org/officeDocument/2006/relationships/image" Target="../media/image35.PNG"/><Relationship Id="rId16" Type="http://schemas.openxmlformats.org/officeDocument/2006/relationships/tags" Target="../tags/tag31.xml"/><Relationship Id="rId11" Type="http://schemas.openxmlformats.org/officeDocument/2006/relationships/tags" Target="../tags/tag26.xml"/><Relationship Id="rId32" Type="http://schemas.openxmlformats.org/officeDocument/2006/relationships/tags" Target="../tags/tag47.xml"/><Relationship Id="rId37" Type="http://schemas.openxmlformats.org/officeDocument/2006/relationships/tags" Target="../tags/tag52.xml"/><Relationship Id="rId53" Type="http://schemas.openxmlformats.org/officeDocument/2006/relationships/tags" Target="../tags/tag68.xml"/><Relationship Id="rId58" Type="http://schemas.openxmlformats.org/officeDocument/2006/relationships/tags" Target="../tags/tag73.xml"/><Relationship Id="rId74" Type="http://schemas.openxmlformats.org/officeDocument/2006/relationships/image" Target="../media/image25.png"/><Relationship Id="rId79" Type="http://schemas.openxmlformats.org/officeDocument/2006/relationships/image" Target="../media/image30.png"/><Relationship Id="rId5" Type="http://schemas.openxmlformats.org/officeDocument/2006/relationships/tags" Target="../tags/tag20.xml"/><Relationship Id="rId19" Type="http://schemas.openxmlformats.org/officeDocument/2006/relationships/tags" Target="../tags/tag34.xml"/><Relationship Id="rId14" Type="http://schemas.openxmlformats.org/officeDocument/2006/relationships/tags" Target="../tags/tag29.xml"/><Relationship Id="rId22" Type="http://schemas.openxmlformats.org/officeDocument/2006/relationships/tags" Target="../tags/tag37.xml"/><Relationship Id="rId27" Type="http://schemas.openxmlformats.org/officeDocument/2006/relationships/tags" Target="../tags/tag42.xml"/><Relationship Id="rId30" Type="http://schemas.openxmlformats.org/officeDocument/2006/relationships/tags" Target="../tags/tag45.xml"/><Relationship Id="rId35" Type="http://schemas.openxmlformats.org/officeDocument/2006/relationships/tags" Target="../tags/tag50.xml"/><Relationship Id="rId43" Type="http://schemas.openxmlformats.org/officeDocument/2006/relationships/tags" Target="../tags/tag58.xml"/><Relationship Id="rId48" Type="http://schemas.openxmlformats.org/officeDocument/2006/relationships/tags" Target="../tags/tag63.xml"/><Relationship Id="rId56" Type="http://schemas.openxmlformats.org/officeDocument/2006/relationships/tags" Target="../tags/tag71.xml"/><Relationship Id="rId64" Type="http://schemas.openxmlformats.org/officeDocument/2006/relationships/tags" Target="../tags/tag79.xml"/><Relationship Id="rId69" Type="http://schemas.openxmlformats.org/officeDocument/2006/relationships/image" Target="../media/image20.png"/><Relationship Id="rId77" Type="http://schemas.openxmlformats.org/officeDocument/2006/relationships/image" Target="../media/image28.png"/><Relationship Id="rId8" Type="http://schemas.openxmlformats.org/officeDocument/2006/relationships/tags" Target="../tags/tag23.xml"/><Relationship Id="rId51" Type="http://schemas.openxmlformats.org/officeDocument/2006/relationships/tags" Target="../tags/tag66.xml"/><Relationship Id="rId72" Type="http://schemas.openxmlformats.org/officeDocument/2006/relationships/image" Target="../media/image23.png"/><Relationship Id="rId80" Type="http://schemas.openxmlformats.org/officeDocument/2006/relationships/image" Target="../media/image31.png"/><Relationship Id="rId85" Type="http://schemas.openxmlformats.org/officeDocument/2006/relationships/image" Target="../media/image36.png"/><Relationship Id="rId3" Type="http://schemas.openxmlformats.org/officeDocument/2006/relationships/tags" Target="../tags/tag18.xml"/><Relationship Id="rId12" Type="http://schemas.openxmlformats.org/officeDocument/2006/relationships/tags" Target="../tags/tag27.xml"/><Relationship Id="rId17" Type="http://schemas.openxmlformats.org/officeDocument/2006/relationships/tags" Target="../tags/tag32.xml"/><Relationship Id="rId25" Type="http://schemas.openxmlformats.org/officeDocument/2006/relationships/tags" Target="../tags/tag40.xml"/><Relationship Id="rId33" Type="http://schemas.openxmlformats.org/officeDocument/2006/relationships/tags" Target="../tags/tag48.xml"/><Relationship Id="rId38" Type="http://schemas.openxmlformats.org/officeDocument/2006/relationships/tags" Target="../tags/tag53.xml"/><Relationship Id="rId46" Type="http://schemas.openxmlformats.org/officeDocument/2006/relationships/tags" Target="../tags/tag61.xml"/><Relationship Id="rId59" Type="http://schemas.openxmlformats.org/officeDocument/2006/relationships/tags" Target="../tags/tag74.xml"/><Relationship Id="rId67" Type="http://schemas.openxmlformats.org/officeDocument/2006/relationships/notesSlide" Target="../notesSlides/notesSlide7.xml"/><Relationship Id="rId20" Type="http://schemas.openxmlformats.org/officeDocument/2006/relationships/tags" Target="../tags/tag35.xml"/><Relationship Id="rId41" Type="http://schemas.openxmlformats.org/officeDocument/2006/relationships/tags" Target="../tags/tag56.xml"/><Relationship Id="rId54" Type="http://schemas.openxmlformats.org/officeDocument/2006/relationships/tags" Target="../tags/tag69.xml"/><Relationship Id="rId62" Type="http://schemas.openxmlformats.org/officeDocument/2006/relationships/tags" Target="../tags/tag77.xml"/><Relationship Id="rId70" Type="http://schemas.openxmlformats.org/officeDocument/2006/relationships/image" Target="../media/image21.png"/><Relationship Id="rId75" Type="http://schemas.openxmlformats.org/officeDocument/2006/relationships/image" Target="../media/image26.png"/><Relationship Id="rId83" Type="http://schemas.openxmlformats.org/officeDocument/2006/relationships/image" Target="../media/image34.png"/><Relationship Id="rId88" Type="http://schemas.openxmlformats.org/officeDocument/2006/relationships/image" Target="../media/image39.png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5" Type="http://schemas.openxmlformats.org/officeDocument/2006/relationships/tags" Target="../tags/tag30.xml"/><Relationship Id="rId23" Type="http://schemas.openxmlformats.org/officeDocument/2006/relationships/tags" Target="../tags/tag38.xml"/><Relationship Id="rId28" Type="http://schemas.openxmlformats.org/officeDocument/2006/relationships/tags" Target="../tags/tag43.xml"/><Relationship Id="rId36" Type="http://schemas.openxmlformats.org/officeDocument/2006/relationships/tags" Target="../tags/tag51.xml"/><Relationship Id="rId49" Type="http://schemas.openxmlformats.org/officeDocument/2006/relationships/tags" Target="../tags/tag64.xml"/><Relationship Id="rId57" Type="http://schemas.openxmlformats.org/officeDocument/2006/relationships/tags" Target="../tags/tag72.xml"/><Relationship Id="rId10" Type="http://schemas.openxmlformats.org/officeDocument/2006/relationships/tags" Target="../tags/tag25.xml"/><Relationship Id="rId31" Type="http://schemas.openxmlformats.org/officeDocument/2006/relationships/tags" Target="../tags/tag46.xml"/><Relationship Id="rId44" Type="http://schemas.openxmlformats.org/officeDocument/2006/relationships/tags" Target="../tags/tag59.xml"/><Relationship Id="rId52" Type="http://schemas.openxmlformats.org/officeDocument/2006/relationships/tags" Target="../tags/tag67.xml"/><Relationship Id="rId60" Type="http://schemas.openxmlformats.org/officeDocument/2006/relationships/tags" Target="../tags/tag75.xml"/><Relationship Id="rId65" Type="http://schemas.openxmlformats.org/officeDocument/2006/relationships/tags" Target="../tags/tag80.xml"/><Relationship Id="rId73" Type="http://schemas.openxmlformats.org/officeDocument/2006/relationships/image" Target="../media/image24.png"/><Relationship Id="rId78" Type="http://schemas.openxmlformats.org/officeDocument/2006/relationships/image" Target="../media/image29.jpeg"/><Relationship Id="rId81" Type="http://schemas.openxmlformats.org/officeDocument/2006/relationships/image" Target="../media/image32.JPG"/><Relationship Id="rId86" Type="http://schemas.openxmlformats.org/officeDocument/2006/relationships/image" Target="../media/image37.jpeg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3" Type="http://schemas.openxmlformats.org/officeDocument/2006/relationships/tags" Target="../tags/tag28.xml"/><Relationship Id="rId18" Type="http://schemas.openxmlformats.org/officeDocument/2006/relationships/tags" Target="../tags/tag33.xml"/><Relationship Id="rId39" Type="http://schemas.openxmlformats.org/officeDocument/2006/relationships/tags" Target="../tags/tag54.xml"/><Relationship Id="rId34" Type="http://schemas.openxmlformats.org/officeDocument/2006/relationships/tags" Target="../tags/tag49.xml"/><Relationship Id="rId50" Type="http://schemas.openxmlformats.org/officeDocument/2006/relationships/tags" Target="../tags/tag65.xml"/><Relationship Id="rId55" Type="http://schemas.openxmlformats.org/officeDocument/2006/relationships/tags" Target="../tags/tag70.xml"/><Relationship Id="rId76" Type="http://schemas.openxmlformats.org/officeDocument/2006/relationships/image" Target="../media/image27.png"/><Relationship Id="rId7" Type="http://schemas.openxmlformats.org/officeDocument/2006/relationships/tags" Target="../tags/tag22.xml"/><Relationship Id="rId71" Type="http://schemas.openxmlformats.org/officeDocument/2006/relationships/image" Target="../media/image22.png"/><Relationship Id="rId2" Type="http://schemas.openxmlformats.org/officeDocument/2006/relationships/tags" Target="../tags/tag17.xml"/><Relationship Id="rId29" Type="http://schemas.openxmlformats.org/officeDocument/2006/relationships/tags" Target="../tags/tag44.xml"/><Relationship Id="rId24" Type="http://schemas.openxmlformats.org/officeDocument/2006/relationships/tags" Target="../tags/tag39.xml"/><Relationship Id="rId40" Type="http://schemas.openxmlformats.org/officeDocument/2006/relationships/tags" Target="../tags/tag55.xml"/><Relationship Id="rId45" Type="http://schemas.openxmlformats.org/officeDocument/2006/relationships/tags" Target="../tags/tag60.xml"/><Relationship Id="rId66" Type="http://schemas.openxmlformats.org/officeDocument/2006/relationships/slideLayout" Target="../slideLayouts/slideLayout5.xml"/><Relationship Id="rId87" Type="http://schemas.openxmlformats.org/officeDocument/2006/relationships/image" Target="../media/image38.png"/><Relationship Id="rId61" Type="http://schemas.openxmlformats.org/officeDocument/2006/relationships/tags" Target="../tags/tag76.xml"/><Relationship Id="rId82" Type="http://schemas.openxmlformats.org/officeDocument/2006/relationships/image" Target="../media/image33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19"/>
          <p:cNvSpPr>
            <a:spLocks noGrp="1"/>
          </p:cNvSpPr>
          <p:nvPr>
            <p:ph type="body" sz="quarter" idx="13"/>
          </p:nvPr>
        </p:nvSpPr>
        <p:spPr>
          <a:xfrm>
            <a:off x="544465" y="1460018"/>
            <a:ext cx="7799434" cy="1031721"/>
          </a:xfrm>
        </p:spPr>
        <p:txBody>
          <a:bodyPr>
            <a:normAutofit lnSpcReduction="10000"/>
          </a:bodyPr>
          <a:lstStyle/>
          <a:p>
            <a:r>
              <a:rPr lang="de-DE" sz="3000" dirty="0"/>
              <a:t>Planungsamt der Bundeswehr</a:t>
            </a:r>
          </a:p>
          <a:p>
            <a:endParaRPr lang="de-DE" sz="1700" b="0" dirty="0"/>
          </a:p>
          <a:p>
            <a:r>
              <a:rPr lang="de-DE" sz="1700" b="0" dirty="0" err="1">
                <a:solidFill>
                  <a:schemeClr val="accent3"/>
                </a:solidFill>
              </a:rPr>
              <a:t>Commericial</a:t>
            </a:r>
            <a:r>
              <a:rPr lang="de-DE" sz="1700" b="0" dirty="0">
                <a:solidFill>
                  <a:schemeClr val="accent3"/>
                </a:solidFill>
              </a:rPr>
              <a:t>/ </a:t>
            </a:r>
            <a:r>
              <a:rPr lang="de-DE" sz="1700" b="0" dirty="0" err="1">
                <a:solidFill>
                  <a:schemeClr val="accent3"/>
                </a:solidFill>
              </a:rPr>
              <a:t>military</a:t>
            </a:r>
            <a:r>
              <a:rPr lang="de-DE" sz="1700" b="0" dirty="0">
                <a:solidFill>
                  <a:schemeClr val="accent3"/>
                </a:solidFill>
              </a:rPr>
              <a:t> off </a:t>
            </a:r>
            <a:r>
              <a:rPr lang="de-DE" sz="1700" b="0" dirty="0" err="1">
                <a:solidFill>
                  <a:schemeClr val="accent3"/>
                </a:solidFill>
              </a:rPr>
              <a:t>the</a:t>
            </a:r>
            <a:r>
              <a:rPr lang="de-DE" sz="1700" b="0" dirty="0">
                <a:solidFill>
                  <a:schemeClr val="accent3"/>
                </a:solidFill>
              </a:rPr>
              <a:t> </a:t>
            </a:r>
            <a:r>
              <a:rPr lang="de-DE" sz="1700" b="0" dirty="0" err="1">
                <a:solidFill>
                  <a:schemeClr val="accent3"/>
                </a:solidFill>
              </a:rPr>
              <a:t>shelf</a:t>
            </a:r>
            <a:r>
              <a:rPr lang="de-DE" sz="1700" b="0">
                <a:solidFill>
                  <a:schemeClr val="accent3"/>
                </a:solidFill>
              </a:rPr>
              <a:t> UAS </a:t>
            </a:r>
            <a:r>
              <a:rPr lang="de-DE" sz="1700" b="0" dirty="0">
                <a:solidFill>
                  <a:schemeClr val="accent3"/>
                </a:solidFill>
              </a:rPr>
              <a:t>für die Bundeswehr</a:t>
            </a:r>
          </a:p>
          <a:p>
            <a:r>
              <a:rPr lang="de-DE" sz="1700" b="0" dirty="0">
                <a:solidFill>
                  <a:schemeClr val="accent3"/>
                </a:solidFill>
              </a:rPr>
              <a:t>Neue Innovationswege für die Bundeswehr?! 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4"/>
          </p:nvPr>
        </p:nvSpPr>
        <p:spPr>
          <a:xfrm>
            <a:off x="544513" y="2571750"/>
            <a:ext cx="7799387" cy="529590"/>
          </a:xfrm>
        </p:spPr>
        <p:txBody>
          <a:bodyPr>
            <a:normAutofit fontScale="77500" lnSpcReduction="20000"/>
          </a:bodyPr>
          <a:lstStyle/>
          <a:p>
            <a:pPr>
              <a:spcAft>
                <a:spcPts val="0"/>
              </a:spcAft>
            </a:pPr>
            <a:endParaRPr lang="de-DE" sz="1200" dirty="0"/>
          </a:p>
          <a:p>
            <a:pPr>
              <a:spcAft>
                <a:spcPts val="0"/>
              </a:spcAft>
            </a:pPr>
            <a:r>
              <a:rPr lang="de-DE" sz="1200" dirty="0"/>
              <a:t>Lena Burth &amp; Björn Schüler</a:t>
            </a:r>
          </a:p>
          <a:p>
            <a:pPr>
              <a:spcAft>
                <a:spcPts val="0"/>
              </a:spcAft>
            </a:pPr>
            <a:endParaRPr lang="de-DE" sz="1200" dirty="0"/>
          </a:p>
          <a:p>
            <a:pPr>
              <a:spcAft>
                <a:spcPts val="0"/>
              </a:spcAft>
            </a:pPr>
            <a:r>
              <a:rPr lang="de-DE" sz="1200" dirty="0"/>
              <a:t>Planungsamt der Bundeswehr (PlgABw) – Innovationsmanagement</a:t>
            </a:r>
          </a:p>
          <a:p>
            <a:pPr>
              <a:spcAft>
                <a:spcPts val="0"/>
              </a:spcAft>
            </a:pPr>
            <a:endParaRPr lang="de-DE" sz="1200" dirty="0"/>
          </a:p>
          <a:p>
            <a:pPr>
              <a:spcAft>
                <a:spcPts val="0"/>
              </a:spcAft>
            </a:pPr>
            <a:r>
              <a:rPr lang="de-DE" sz="1200" dirty="0"/>
              <a:t>KOINNO Challenge-Geber-Day: Innovative Beschaffung geht doch!, Berlin 15.05.2024</a:t>
            </a:r>
          </a:p>
        </p:txBody>
      </p:sp>
    </p:spTree>
    <p:extLst>
      <p:ext uri="{BB962C8B-B14F-4D97-AF65-F5344CB8AC3E}">
        <p14:creationId xmlns:p14="http://schemas.microsoft.com/office/powerpoint/2010/main" val="30451014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0A894A4-08BD-4BC7-B5CA-7CDAD99FCD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4A84CBA-BDF2-46F0-8E4B-8B328159AA0D}"/>
              </a:ext>
            </a:extLst>
          </p:cNvPr>
          <p:cNvSpPr txBox="1"/>
          <p:nvPr/>
        </p:nvSpPr>
        <p:spPr>
          <a:xfrm>
            <a:off x="0" y="457460"/>
            <a:ext cx="9144000" cy="82215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sz="2800" b="1" dirty="0">
                <a:solidFill>
                  <a:schemeClr val="bg1"/>
                </a:solidFill>
              </a:rPr>
              <a:t>Vielen Dank für Ihr Interesse.</a:t>
            </a:r>
          </a:p>
        </p:txBody>
      </p:sp>
      <p:sp>
        <p:nvSpPr>
          <p:cNvPr id="5" name="Gefaltete Ecke 23">
            <a:extLst>
              <a:ext uri="{FF2B5EF4-FFF2-40B4-BE49-F238E27FC236}">
                <a16:creationId xmlns:a16="http://schemas.microsoft.com/office/drawing/2014/main" id="{CC5D3C94-11A1-4F5C-BEA8-C663D514DE10}"/>
              </a:ext>
            </a:extLst>
          </p:cNvPr>
          <p:cNvSpPr/>
          <p:nvPr/>
        </p:nvSpPr>
        <p:spPr bwMode="auto">
          <a:xfrm rot="21267964">
            <a:off x="1450884" y="1351860"/>
            <a:ext cx="3108620" cy="2439778"/>
          </a:xfrm>
          <a:prstGeom prst="foldedCorner">
            <a:avLst/>
          </a:prstGeom>
          <a:solidFill>
            <a:srgbClr val="F9B600"/>
          </a:solidFill>
          <a:ln w="1270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288000" rtlCol="0" anchor="ctr"/>
          <a:lstStyle/>
          <a:p>
            <a:pPr algn="ctr">
              <a:lnSpc>
                <a:spcPct val="90000"/>
              </a:lnSpc>
            </a:pPr>
            <a:r>
              <a:rPr lang="de-DE" b="1" dirty="0">
                <a:solidFill>
                  <a:schemeClr val="bg1"/>
                </a:solidFill>
              </a:rPr>
              <a:t>Anregungen, Tipps, Ideen?</a:t>
            </a:r>
          </a:p>
          <a:p>
            <a:pPr algn="ctr">
              <a:lnSpc>
                <a:spcPct val="90000"/>
              </a:lnSpc>
            </a:pPr>
            <a:endParaRPr lang="de-DE" b="1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de-DE" b="1" dirty="0">
                <a:solidFill>
                  <a:schemeClr val="bg1"/>
                </a:solidFill>
              </a:rPr>
              <a:t>Kontakt Innovationsmanagement im Planungsamt der Bundeswehr:</a:t>
            </a:r>
          </a:p>
          <a:p>
            <a:pPr algn="ctr">
              <a:lnSpc>
                <a:spcPct val="90000"/>
              </a:lnSpc>
            </a:pPr>
            <a:endParaRPr lang="de-DE" b="1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de-DE" b="1" dirty="0">
                <a:solidFill>
                  <a:schemeClr val="bg1"/>
                </a:solidFill>
              </a:rPr>
              <a:t>innovation@bundeswehr.org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3043ED6-EE21-4D4E-96D9-73AD306D11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6626" y="1695450"/>
            <a:ext cx="1752600" cy="175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1350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ABB40C-3CE8-4415-8318-34B78360AC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de-DE" cap="all" dirty="0">
                <a:solidFill>
                  <a:srgbClr val="000000"/>
                </a:solidFill>
              </a:rPr>
              <a:t>Öffentlich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F7D61E0-4CF2-4F07-A40A-0E58391B2C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2</a:t>
            </a:fld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DC4C02E8-7A36-4F20-8426-ECDDB6F8CCDD}"/>
              </a:ext>
            </a:extLst>
          </p:cNvPr>
          <p:cNvSpPr txBox="1"/>
          <p:nvPr/>
        </p:nvSpPr>
        <p:spPr>
          <a:xfrm>
            <a:off x="5092700" y="1231900"/>
            <a:ext cx="3511550" cy="482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2000" dirty="0">
                <a:solidFill>
                  <a:schemeClr val="bg1"/>
                </a:solidFill>
              </a:rPr>
              <a:t>Militär als Innovationstreiber ?!</a:t>
            </a:r>
          </a:p>
        </p:txBody>
      </p:sp>
      <p:pic>
        <p:nvPicPr>
          <p:cNvPr id="1027" name="Grafik 32" descr="image003">
            <a:extLst>
              <a:ext uri="{FF2B5EF4-FFF2-40B4-BE49-F238E27FC236}">
                <a16:creationId xmlns:a16="http://schemas.microsoft.com/office/drawing/2014/main" id="{2C5766DE-E7C2-457D-9BE8-7D4B0566AAC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1" y="677650"/>
            <a:ext cx="9157569" cy="42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AEE63710-815E-406B-90B1-669E51366E79}"/>
              </a:ext>
            </a:extLst>
          </p:cNvPr>
          <p:cNvSpPr/>
          <p:nvPr/>
        </p:nvSpPr>
        <p:spPr>
          <a:xfrm>
            <a:off x="2552700" y="1879600"/>
            <a:ext cx="4191000" cy="1327150"/>
          </a:xfrm>
          <a:prstGeom prst="rect">
            <a:avLst/>
          </a:prstGeom>
          <a:solidFill>
            <a:srgbClr val="000000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/>
              <a:t>Militär als Innovationstreiber ?!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EB0E0F8F-2A5A-43EF-8A72-BD042FEF689E}"/>
              </a:ext>
            </a:extLst>
          </p:cNvPr>
          <p:cNvSpPr txBox="1"/>
          <p:nvPr/>
        </p:nvSpPr>
        <p:spPr>
          <a:xfrm>
            <a:off x="6221462" y="4981100"/>
            <a:ext cx="2635200" cy="1651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650" cap="all" dirty="0">
                <a:solidFill>
                  <a:srgbClr val="000000"/>
                </a:solidFill>
              </a:rPr>
              <a:t>Bild: Bundeswehr- Future Operation Environment 2040 </a:t>
            </a:r>
          </a:p>
        </p:txBody>
      </p:sp>
    </p:spTree>
    <p:extLst>
      <p:ext uri="{BB962C8B-B14F-4D97-AF65-F5344CB8AC3E}">
        <p14:creationId xmlns:p14="http://schemas.microsoft.com/office/powerpoint/2010/main" val="23623890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B1AFE22-DE29-4EB6-B532-8B268C33E9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ÖFFENTLICH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E650304-DC8B-4BCD-9474-4F46392D01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3</a:t>
            </a:fld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11ABF1EA-05EA-4C7F-9257-B7B3632904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337" y="0"/>
            <a:ext cx="8569325" cy="504614"/>
          </a:xfrm>
        </p:spPr>
        <p:txBody>
          <a:bodyPr/>
          <a:lstStyle/>
          <a:p>
            <a:r>
              <a:rPr lang="de-DE" dirty="0"/>
              <a:t>Verortung des Planungsamts</a:t>
            </a:r>
          </a:p>
        </p:txBody>
      </p:sp>
      <p:pic>
        <p:nvPicPr>
          <p:cNvPr id="15" name="Bildplatzhalter 14">
            <a:extLst>
              <a:ext uri="{FF2B5EF4-FFF2-40B4-BE49-F238E27FC236}">
                <a16:creationId xmlns:a16="http://schemas.microsoft.com/office/drawing/2014/main" id="{DFEEE99C-C028-4916-857F-C13AA032EFD7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/>
          <a:srcRect t="6651" b="6651"/>
          <a:stretch>
            <a:fillRect/>
          </a:stretch>
        </p:blipFill>
        <p:spPr>
          <a:xfrm>
            <a:off x="0" y="504825"/>
            <a:ext cx="9144000" cy="4459288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6B6FC044-9E2C-4CA1-BA38-DA67EC270DC6}"/>
              </a:ext>
            </a:extLst>
          </p:cNvPr>
          <p:cNvSpPr/>
          <p:nvPr/>
        </p:nvSpPr>
        <p:spPr>
          <a:xfrm>
            <a:off x="5714775" y="3590714"/>
            <a:ext cx="1114425" cy="1800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8530DE9-0969-4179-A60D-50BD5889E537}"/>
              </a:ext>
            </a:extLst>
          </p:cNvPr>
          <p:cNvSpPr txBox="1"/>
          <p:nvPr/>
        </p:nvSpPr>
        <p:spPr>
          <a:xfrm>
            <a:off x="6552662" y="4876813"/>
            <a:ext cx="2304000" cy="1793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endParaRPr lang="de-DE" sz="650" dirty="0"/>
          </a:p>
          <a:p>
            <a:pPr algn="l"/>
            <a:r>
              <a:rPr lang="de-DE" sz="650" dirty="0"/>
              <a:t>Bild: Bundeswehr (Stand April 2024)</a:t>
            </a:r>
          </a:p>
        </p:txBody>
      </p:sp>
    </p:spTree>
    <p:extLst>
      <p:ext uri="{BB962C8B-B14F-4D97-AF65-F5344CB8AC3E}">
        <p14:creationId xmlns:p14="http://schemas.microsoft.com/office/powerpoint/2010/main" val="5351920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AF77C52-B79D-4FED-8639-12357B42EC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03746F-B42A-474D-94FA-02D6826DE614}" type="slidenum">
              <a:rPr kumimoji="0" lang="de-DE" sz="6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6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EFB16650-FDCE-4D83-B9FB-1E8656476F51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6441541" y="1016128"/>
            <a:ext cx="2519772" cy="3529013"/>
          </a:xfrm>
          <a:prstGeom prst="rect">
            <a:avLst/>
          </a:prstGeom>
          <a:solidFill>
            <a:srgbClr val="385B67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80000" tIns="46800" rIns="396000" bIns="46800" rtlCol="0" anchor="ctr"/>
          <a:lstStyle/>
          <a:p>
            <a:pPr defTabSz="914355">
              <a:spcBef>
                <a:spcPts val="600"/>
              </a:spcBef>
              <a:spcAft>
                <a:spcPts val="600"/>
              </a:spcAft>
              <a:defRPr/>
            </a:pPr>
            <a:endParaRPr lang="de-DE" sz="3200" b="1" dirty="0">
              <a:latin typeface="Arial"/>
            </a:endParaRP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41F9AA11-D057-4899-ABF4-DB723209AC29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3206432" y="1025860"/>
            <a:ext cx="1486800" cy="1116000"/>
          </a:xfrm>
          <a:prstGeom prst="rect">
            <a:avLst/>
          </a:prstGeom>
          <a:noFill/>
          <a:ln w="9525" algn="ctr">
            <a:solidFill>
              <a:srgbClr val="385B67"/>
            </a:solidFill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defTabSz="914355">
              <a:buClr>
                <a:srgbClr val="E31937"/>
              </a:buClr>
              <a:buSzPct val="110000"/>
              <a:defRPr/>
            </a:pPr>
            <a:r>
              <a:rPr lang="de-DE" sz="1200" b="1" dirty="0">
                <a:solidFill>
                  <a:srgbClr val="181818"/>
                </a:solidFill>
                <a:latin typeface="Arial"/>
                <a:cs typeface="Arial" pitchFamily="34" charset="0"/>
              </a:rPr>
              <a:t>Aufstellung</a:t>
            </a:r>
            <a:br>
              <a:rPr lang="de-DE" sz="1200" b="1" dirty="0">
                <a:solidFill>
                  <a:srgbClr val="C00000"/>
                </a:solidFill>
                <a:latin typeface="Arial"/>
                <a:cs typeface="Arial" pitchFamily="34" charset="0"/>
              </a:rPr>
            </a:br>
            <a:r>
              <a:rPr lang="de-DE" sz="1200" b="1" dirty="0">
                <a:latin typeface="Arial"/>
                <a:cs typeface="Arial" pitchFamily="34" charset="0"/>
              </a:rPr>
              <a:t>2012</a:t>
            </a:r>
            <a:endParaRPr lang="de-DE" sz="1200" dirty="0">
              <a:latin typeface="Arial"/>
              <a:cs typeface="Arial" pitchFamily="34" charset="0"/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15DB6E8-E2B8-417C-B961-8C5C7678F2C9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4754926" y="1025858"/>
            <a:ext cx="1486800" cy="1116000"/>
          </a:xfrm>
          <a:prstGeom prst="rect">
            <a:avLst/>
          </a:prstGeom>
          <a:noFill/>
          <a:ln w="9525" algn="ctr">
            <a:solidFill>
              <a:srgbClr val="385B67"/>
            </a:solidFill>
            <a:miter lim="800000"/>
            <a:headEnd/>
            <a:tailEnd/>
          </a:ln>
          <a:effectLst/>
        </p:spPr>
        <p:txBody>
          <a:bodyPr lIns="36000" tIns="46800" rIns="36000" bIns="46800" rtlCol="0" anchor="ctr"/>
          <a:lstStyle/>
          <a:p>
            <a:pPr algn="ctr" defTabSz="914355">
              <a:buClr>
                <a:srgbClr val="E31937"/>
              </a:buClr>
              <a:buSzPct val="110000"/>
              <a:defRPr/>
            </a:pPr>
            <a:r>
              <a:rPr lang="en-US" sz="1200" b="1" dirty="0">
                <a:solidFill>
                  <a:srgbClr val="363534"/>
                </a:solidFill>
                <a:latin typeface="Arial"/>
                <a:cs typeface="Arial" pitchFamily="34" charset="0"/>
              </a:rPr>
              <a:t>528 </a:t>
            </a:r>
            <a:r>
              <a:rPr lang="en-US" sz="1200" b="1" dirty="0" err="1">
                <a:solidFill>
                  <a:srgbClr val="363534"/>
                </a:solidFill>
                <a:latin typeface="Arial"/>
                <a:cs typeface="Arial" pitchFamily="34" charset="0"/>
              </a:rPr>
              <a:t>Dienstposten</a:t>
            </a:r>
            <a:endParaRPr lang="en-US" sz="1200" b="1" dirty="0">
              <a:solidFill>
                <a:srgbClr val="363534"/>
              </a:solidFill>
              <a:latin typeface="Arial"/>
              <a:cs typeface="Arial" pitchFamily="34" charset="0"/>
            </a:endParaRPr>
          </a:p>
          <a:p>
            <a:pPr algn="ctr" defTabSz="914355">
              <a:buClr>
                <a:srgbClr val="E31937"/>
              </a:buClr>
              <a:buSzPct val="110000"/>
              <a:defRPr/>
            </a:pPr>
            <a:r>
              <a:rPr lang="en-US" sz="1200" b="1">
                <a:solidFill>
                  <a:srgbClr val="363534"/>
                </a:solidFill>
                <a:latin typeface="Arial"/>
                <a:cs typeface="Arial" pitchFamily="34" charset="0"/>
              </a:rPr>
              <a:t>457 </a:t>
            </a:r>
            <a:r>
              <a:rPr lang="en-US" sz="1200" b="1" dirty="0" err="1">
                <a:solidFill>
                  <a:srgbClr val="363534"/>
                </a:solidFill>
                <a:latin typeface="Arial"/>
                <a:cs typeface="Arial" pitchFamily="34" charset="0"/>
              </a:rPr>
              <a:t>Angehörige</a:t>
            </a:r>
            <a:endParaRPr lang="en-US" sz="1200" b="1" dirty="0">
              <a:solidFill>
                <a:srgbClr val="FF6A00"/>
              </a:solidFill>
              <a:latin typeface="Arial"/>
              <a:cs typeface="Arial" pitchFamily="34" charset="0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D883E4FD-3899-46B1-9965-3EBCDF40EEC8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3206432" y="2240059"/>
            <a:ext cx="1486800" cy="1116000"/>
          </a:xfrm>
          <a:prstGeom prst="rect">
            <a:avLst/>
          </a:prstGeom>
          <a:noFill/>
          <a:ln w="9525" algn="ctr">
            <a:solidFill>
              <a:srgbClr val="385B67"/>
            </a:solidFill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defTabSz="914355">
              <a:buClr>
                <a:srgbClr val="E31937"/>
              </a:buClr>
              <a:buSzPct val="110000"/>
              <a:defRPr/>
            </a:pPr>
            <a:r>
              <a:rPr lang="de-DE" sz="1200" b="1" dirty="0">
                <a:solidFill>
                  <a:srgbClr val="D8D8D8">
                    <a:lumMod val="25000"/>
                  </a:srgbClr>
                </a:solidFill>
                <a:latin typeface="Arial"/>
                <a:cs typeface="Arial" pitchFamily="34" charset="0"/>
              </a:rPr>
              <a:t>fähigkeits-orientiert </a:t>
            </a:r>
          </a:p>
          <a:p>
            <a:pPr algn="ctr" defTabSz="914355">
              <a:buClr>
                <a:srgbClr val="E31937"/>
              </a:buClr>
              <a:buSzPct val="110000"/>
              <a:defRPr/>
            </a:pPr>
            <a:r>
              <a:rPr lang="de-DE" sz="1200" b="1" dirty="0">
                <a:solidFill>
                  <a:srgbClr val="D8D8D8">
                    <a:lumMod val="25000"/>
                  </a:srgbClr>
                </a:solidFill>
                <a:latin typeface="Arial"/>
                <a:cs typeface="Arial" pitchFamily="34" charset="0"/>
              </a:rPr>
              <a:t>und produktneutral</a:t>
            </a:r>
            <a:endParaRPr lang="de-DE" sz="1200" dirty="0">
              <a:solidFill>
                <a:srgbClr val="D8D8D8">
                  <a:lumMod val="25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3A6D8BFF-4B1C-4D32-A1EE-BECAB44BC226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4754926" y="2240396"/>
            <a:ext cx="1486800" cy="1116000"/>
          </a:xfrm>
          <a:prstGeom prst="rect">
            <a:avLst/>
          </a:prstGeom>
          <a:noFill/>
          <a:ln w="9525" algn="ctr">
            <a:solidFill>
              <a:srgbClr val="385B67"/>
            </a:solidFill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defTabSz="914355">
              <a:buClr>
                <a:srgbClr val="E31937"/>
              </a:buClr>
              <a:buSzPct val="110000"/>
              <a:defRPr/>
            </a:pPr>
            <a:r>
              <a:rPr lang="de-DE" sz="1200" b="1" dirty="0">
                <a:solidFill>
                  <a:srgbClr val="181818"/>
                </a:solidFill>
                <a:latin typeface="Arial"/>
                <a:cs typeface="Arial" pitchFamily="34" charset="0"/>
              </a:rPr>
              <a:t>Planungshorizont</a:t>
            </a:r>
          </a:p>
          <a:p>
            <a:pPr algn="ctr" defTabSz="914355">
              <a:buClr>
                <a:srgbClr val="E31937"/>
              </a:buClr>
              <a:buSzPct val="110000"/>
              <a:defRPr/>
            </a:pPr>
            <a:r>
              <a:rPr lang="de-DE" sz="1200" b="1" dirty="0">
                <a:latin typeface="Arial"/>
                <a:cs typeface="Arial" pitchFamily="34" charset="0"/>
              </a:rPr>
              <a:t>15 Jahre</a:t>
            </a:r>
            <a:endParaRPr lang="de-DE" sz="1200" dirty="0">
              <a:latin typeface="Arial"/>
              <a:cs typeface="Arial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BC6B64E5-0F93-4869-8154-01CEA687B70A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34553" y="3464667"/>
            <a:ext cx="1486800" cy="1116000"/>
          </a:xfrm>
          <a:prstGeom prst="rect">
            <a:avLst/>
          </a:prstGeom>
          <a:noFill/>
          <a:ln w="9525" algn="ctr">
            <a:solidFill>
              <a:srgbClr val="385B67"/>
            </a:solidFill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defTabSz="914355">
              <a:buClr>
                <a:srgbClr val="E31937"/>
              </a:buClr>
              <a:buSzPct val="110000"/>
              <a:defRPr/>
            </a:pPr>
            <a:r>
              <a:rPr lang="de-DE" sz="1200" b="1" dirty="0">
                <a:latin typeface="Arial"/>
                <a:cs typeface="Arial" pitchFamily="34" charset="0"/>
              </a:rPr>
              <a:t>Planvolumen</a:t>
            </a:r>
            <a:br>
              <a:rPr lang="de-DE" sz="1200" b="1" dirty="0">
                <a:latin typeface="Arial"/>
                <a:cs typeface="Arial" pitchFamily="34" charset="0"/>
              </a:rPr>
            </a:br>
            <a:r>
              <a:rPr lang="de-DE" sz="1200" b="1" dirty="0">
                <a:latin typeface="Arial"/>
                <a:cs typeface="Arial" pitchFamily="34" charset="0"/>
              </a:rPr>
              <a:t>ca. 50 Mrd. € </a:t>
            </a:r>
            <a:r>
              <a:rPr lang="de-DE" sz="1200" b="1" dirty="0">
                <a:cs typeface="Arial" pitchFamily="34" charset="0"/>
              </a:rPr>
              <a:t>jährlich + Sondervermögen</a:t>
            </a:r>
            <a:endParaRPr lang="de-DE" sz="1200" dirty="0">
              <a:latin typeface="Arial"/>
              <a:cs typeface="Arial" pitchFamily="34" charset="0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76B80F1-69F6-4540-B511-011315287E91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658582" y="3464667"/>
            <a:ext cx="1486800" cy="1116000"/>
          </a:xfrm>
          <a:prstGeom prst="rect">
            <a:avLst/>
          </a:prstGeom>
          <a:noFill/>
          <a:ln w="9525" algn="ctr">
            <a:solidFill>
              <a:srgbClr val="385B67"/>
            </a:solidFill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defTabSz="914355">
              <a:buClr>
                <a:srgbClr val="E31937"/>
              </a:buClr>
              <a:buSzPct val="110000"/>
              <a:defRPr/>
            </a:pPr>
            <a:r>
              <a:rPr lang="de-DE" sz="1200" b="1" dirty="0">
                <a:solidFill>
                  <a:srgbClr val="181818"/>
                </a:solidFill>
                <a:latin typeface="Arial"/>
                <a:cs typeface="Arial" pitchFamily="34" charset="0"/>
              </a:rPr>
              <a:t>national und international</a:t>
            </a:r>
            <a:br>
              <a:rPr lang="de-DE" sz="1200" dirty="0">
                <a:solidFill>
                  <a:srgbClr val="181818"/>
                </a:solidFill>
                <a:latin typeface="Arial"/>
                <a:cs typeface="Arial" pitchFamily="34" charset="0"/>
              </a:rPr>
            </a:br>
            <a:r>
              <a:rPr lang="de-DE" sz="1200" b="1" dirty="0">
                <a:solidFill>
                  <a:srgbClr val="181818"/>
                </a:solidFill>
                <a:latin typeface="Arial"/>
                <a:cs typeface="Arial" pitchFamily="34" charset="0"/>
              </a:rPr>
              <a:t>vernetzt</a:t>
            </a:r>
            <a:endParaRPr lang="de-DE" sz="1200" b="1" dirty="0">
              <a:solidFill>
                <a:srgbClr val="595959">
                  <a:lumMod val="75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91C27157-8337-4C50-A733-928354A5456D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3206432" y="3463993"/>
            <a:ext cx="1486800" cy="1116000"/>
          </a:xfrm>
          <a:prstGeom prst="rect">
            <a:avLst/>
          </a:prstGeom>
          <a:noFill/>
          <a:ln w="9525" algn="ctr">
            <a:solidFill>
              <a:srgbClr val="385B67"/>
            </a:solidFill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defTabSz="914355">
              <a:buClr>
                <a:srgbClr val="E31937"/>
              </a:buClr>
              <a:buSzPct val="110000"/>
              <a:defRPr/>
            </a:pPr>
            <a:r>
              <a:rPr lang="de-DE" sz="1200" b="1" dirty="0">
                <a:latin typeface="Arial"/>
                <a:cs typeface="Arial" pitchFamily="34" charset="0"/>
              </a:rPr>
              <a:t>Strategische Entwicklung der Bundeswehr im Fokus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5365AF8E-8EBB-4A89-A256-146B9AE49123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4754926" y="3464667"/>
            <a:ext cx="1486800" cy="1116000"/>
          </a:xfrm>
          <a:prstGeom prst="rect">
            <a:avLst/>
          </a:prstGeom>
          <a:noFill/>
          <a:ln w="9525" algn="ctr">
            <a:solidFill>
              <a:srgbClr val="385B67"/>
            </a:solidFill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defTabSz="914355">
              <a:buClr>
                <a:srgbClr val="E31937"/>
              </a:buClr>
              <a:buSzPct val="110000"/>
              <a:defRPr/>
            </a:pPr>
            <a:r>
              <a:rPr lang="de-DE" sz="1200" b="1" dirty="0">
                <a:solidFill>
                  <a:srgbClr val="181818"/>
                </a:solidFill>
                <a:latin typeface="Arial"/>
                <a:cs typeface="Arial" pitchFamily="34" charset="0"/>
                <a:sym typeface="Wingdings"/>
              </a:rPr>
              <a:t>4 Abteilungen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751B5A47-0B2A-4083-8407-F5C67876AAA9}"/>
              </a:ext>
            </a:extLst>
          </p:cNvPr>
          <p:cNvSpPr txBox="1"/>
          <p:nvPr/>
        </p:nvSpPr>
        <p:spPr>
          <a:xfrm>
            <a:off x="5481582" y="1946679"/>
            <a:ext cx="72968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55">
              <a:defRPr/>
            </a:pPr>
            <a:r>
              <a:rPr lang="de-DE" sz="600" dirty="0">
                <a:solidFill>
                  <a:srgbClr val="E5E5E5">
                    <a:lumMod val="75000"/>
                  </a:srgbClr>
                </a:solidFill>
                <a:latin typeface="Arial"/>
              </a:rPr>
              <a:t>Stand: 11/2023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C4FDE18E-C501-4B97-BEBB-476B3998C980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6441541" y="1025858"/>
            <a:ext cx="2519772" cy="3554135"/>
          </a:xfrm>
          <a:prstGeom prst="rect">
            <a:avLst/>
          </a:prstGeom>
          <a:solidFill>
            <a:srgbClr val="385B67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80000" tIns="46800" rIns="396000" bIns="46800" rtlCol="0" anchor="ctr"/>
          <a:lstStyle/>
          <a:p>
            <a:pPr defTabSz="914355">
              <a:spcBef>
                <a:spcPts val="600"/>
              </a:spcBef>
              <a:spcAft>
                <a:spcPts val="600"/>
              </a:spcAft>
              <a:defRPr/>
            </a:pPr>
            <a:endParaRPr lang="de-DE" sz="3200" b="1" dirty="0">
              <a:latin typeface="Arial"/>
            </a:endParaRPr>
          </a:p>
        </p:txBody>
      </p:sp>
      <p:cxnSp>
        <p:nvCxnSpPr>
          <p:cNvPr id="43" name="Gerade Verbindung 13">
            <a:extLst>
              <a:ext uri="{FF2B5EF4-FFF2-40B4-BE49-F238E27FC236}">
                <a16:creationId xmlns:a16="http://schemas.microsoft.com/office/drawing/2014/main" id="{2900947D-8BC9-4914-B098-ECB30C299F86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6519120" y="3411220"/>
            <a:ext cx="2340260" cy="0"/>
          </a:xfrm>
          <a:prstGeom prst="line">
            <a:avLst/>
          </a:prstGeom>
          <a:noFill/>
          <a:ln w="12700" cap="rnd">
            <a:solidFill>
              <a:schemeClr val="bg1"/>
            </a:solidFill>
            <a:prstDash val="sysDot"/>
            <a:round/>
            <a:headEnd/>
            <a:tailEnd/>
          </a:ln>
          <a:effectLst/>
        </p:spPr>
      </p:cxnSp>
      <p:sp>
        <p:nvSpPr>
          <p:cNvPr id="44" name="Rechteck 43">
            <a:extLst>
              <a:ext uri="{FF2B5EF4-FFF2-40B4-BE49-F238E27FC236}">
                <a16:creationId xmlns:a16="http://schemas.microsoft.com/office/drawing/2014/main" id="{7208906D-57A3-4DB4-B17B-F1544E78BFF9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6873403" y="3737451"/>
            <a:ext cx="2087910" cy="5646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46800" rIns="0" bIns="46800" rtlCol="0" anchor="ctr"/>
          <a:lstStyle/>
          <a:p>
            <a:pPr marL="180967" indent="-180967" defTabSz="914355">
              <a:buClr>
                <a:srgbClr val="E31937"/>
              </a:buClr>
              <a:buSzPct val="110000"/>
              <a:defRPr/>
            </a:pPr>
            <a:r>
              <a:rPr lang="de-DE" sz="1600" cap="all" dirty="0">
                <a:solidFill>
                  <a:srgbClr val="FFFFFF"/>
                </a:solidFill>
                <a:latin typeface="Arial"/>
                <a:cs typeface="Arial" pitchFamily="34" charset="0"/>
              </a:rPr>
              <a:t>Entscheider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D44CD2B4-88D2-40B8-B475-3CE598573E97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7073218" y="2502470"/>
            <a:ext cx="2087910" cy="5646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46800" rIns="0" bIns="46800" rtlCol="0" anchor="ctr"/>
          <a:lstStyle/>
          <a:p>
            <a:pPr marL="180967" indent="-180967" defTabSz="914355">
              <a:buClr>
                <a:srgbClr val="E31937"/>
              </a:buClr>
              <a:buSzPct val="110000"/>
              <a:defRPr/>
            </a:pPr>
            <a:r>
              <a:rPr lang="de-DE" sz="1600" cap="all" dirty="0">
                <a:solidFill>
                  <a:srgbClr val="FFFFFF"/>
                </a:solidFill>
                <a:latin typeface="Arial"/>
                <a:cs typeface="Arial" pitchFamily="34" charset="0"/>
              </a:rPr>
              <a:t>BERATER</a:t>
            </a:r>
          </a:p>
        </p:txBody>
      </p:sp>
      <p:cxnSp>
        <p:nvCxnSpPr>
          <p:cNvPr id="46" name="Gerade Verbindung 11">
            <a:extLst>
              <a:ext uri="{FF2B5EF4-FFF2-40B4-BE49-F238E27FC236}">
                <a16:creationId xmlns:a16="http://schemas.microsoft.com/office/drawing/2014/main" id="{F03F8BAE-E985-4BF8-B074-0A50ADC6F79B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6516402" y="2199879"/>
            <a:ext cx="2340260" cy="0"/>
          </a:xfrm>
          <a:prstGeom prst="line">
            <a:avLst/>
          </a:prstGeom>
          <a:noFill/>
          <a:ln w="12700" cap="rnd">
            <a:solidFill>
              <a:schemeClr val="bg1"/>
            </a:solidFill>
            <a:prstDash val="sysDot"/>
            <a:round/>
            <a:headEnd/>
            <a:tailEnd/>
          </a:ln>
          <a:effectLst/>
        </p:spPr>
      </p:cxnSp>
      <p:sp>
        <p:nvSpPr>
          <p:cNvPr id="3" name="Rechteck 2">
            <a:extLst>
              <a:ext uri="{FF2B5EF4-FFF2-40B4-BE49-F238E27FC236}">
                <a16:creationId xmlns:a16="http://schemas.microsoft.com/office/drawing/2014/main" id="{B6D6D549-115C-4CB8-96D6-C88CD6EE28E6}"/>
              </a:ext>
            </a:extLst>
          </p:cNvPr>
          <p:cNvSpPr/>
          <p:nvPr/>
        </p:nvSpPr>
        <p:spPr>
          <a:xfrm>
            <a:off x="227106" y="2940424"/>
            <a:ext cx="1057835" cy="3705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A503EB04-20C2-4CCC-9BEF-B4320F2B57D3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6767690" y="1370376"/>
            <a:ext cx="2340260" cy="5646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36000" tIns="46800" rIns="0" bIns="46800" rtlCol="0" anchor="ctr"/>
          <a:lstStyle/>
          <a:p>
            <a:pPr marL="180967" indent="-180967" defTabSz="914355">
              <a:buClr>
                <a:srgbClr val="E31937"/>
              </a:buClr>
              <a:buSzPct val="110000"/>
              <a:defRPr/>
            </a:pPr>
            <a:r>
              <a:rPr lang="de-DE" sz="1600" cap="all" dirty="0">
                <a:solidFill>
                  <a:srgbClr val="FFFFFF"/>
                </a:solidFill>
                <a:latin typeface="Arial"/>
                <a:cs typeface="Arial" pitchFamily="34" charset="0"/>
              </a:rPr>
              <a:t>ENTSCHEIDUNGS-</a:t>
            </a:r>
          </a:p>
          <a:p>
            <a:pPr marL="180967" indent="-180967" defTabSz="914355">
              <a:buClr>
                <a:srgbClr val="E31937"/>
              </a:buClr>
              <a:buSzPct val="110000"/>
              <a:defRPr/>
            </a:pPr>
            <a:r>
              <a:rPr lang="de-DE" sz="1600" cap="all" dirty="0">
                <a:solidFill>
                  <a:srgbClr val="FFFFFF"/>
                </a:solidFill>
                <a:latin typeface="Arial"/>
                <a:cs typeface="Arial" pitchFamily="34" charset="0"/>
              </a:rPr>
              <a:t>VORBEREITER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4EB4C9D-AFBB-4F62-A928-DDC4C3E8C91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782" y="1025860"/>
            <a:ext cx="3009600" cy="2330020"/>
          </a:xfrm>
          <a:prstGeom prst="rect">
            <a:avLst/>
          </a:prstGeom>
          <a:ln>
            <a:solidFill>
              <a:srgbClr val="385B67"/>
            </a:solidFill>
          </a:ln>
        </p:spPr>
      </p:pic>
      <p:sp>
        <p:nvSpPr>
          <p:cNvPr id="25" name="Textplatzhalter 17">
            <a:extLst>
              <a:ext uri="{FF2B5EF4-FFF2-40B4-BE49-F238E27FC236}">
                <a16:creationId xmlns:a16="http://schemas.microsoft.com/office/drawing/2014/main" id="{17260386-222C-4A65-947F-C716D1A5B1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7338" y="0"/>
            <a:ext cx="8569325" cy="684213"/>
          </a:xfrm>
        </p:spPr>
        <p:txBody>
          <a:bodyPr/>
          <a:lstStyle/>
          <a:p>
            <a:r>
              <a:rPr lang="de-DE" dirty="0"/>
              <a:t>Das Planungsamt der Bundeswehr – Bundeswehrgemeinsame Planung aus einer Hand</a:t>
            </a:r>
          </a:p>
        </p:txBody>
      </p:sp>
      <p:sp>
        <p:nvSpPr>
          <p:cNvPr id="23" name="Fußzeilenplatzhalter 3">
            <a:extLst>
              <a:ext uri="{FF2B5EF4-FFF2-40B4-BE49-F238E27FC236}">
                <a16:creationId xmlns:a16="http://schemas.microsoft.com/office/drawing/2014/main" id="{00375D91-BC1B-4AED-A62A-D707B7F8AC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72000" y="4963500"/>
            <a:ext cx="3600000" cy="180000"/>
          </a:xfrm>
        </p:spPr>
        <p:txBody>
          <a:bodyPr/>
          <a:lstStyle/>
          <a:p>
            <a:pPr lvl="0">
              <a:defRPr/>
            </a:pPr>
            <a:r>
              <a:rPr lang="de-DE" cap="all" dirty="0">
                <a:solidFill>
                  <a:srgbClr val="000000"/>
                </a:solidFill>
              </a:rPr>
              <a:t>Öffentlich</a:t>
            </a:r>
          </a:p>
        </p:txBody>
      </p:sp>
    </p:spTree>
    <p:extLst>
      <p:ext uri="{BB962C8B-B14F-4D97-AF65-F5344CB8AC3E}">
        <p14:creationId xmlns:p14="http://schemas.microsoft.com/office/powerpoint/2010/main" val="14431896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>
            <a:extLst>
              <a:ext uri="{FF2B5EF4-FFF2-40B4-BE49-F238E27FC236}">
                <a16:creationId xmlns:a16="http://schemas.microsoft.com/office/drawing/2014/main" id="{5E24527C-42E9-446A-A3CD-61A82EF9549D}"/>
              </a:ext>
            </a:extLst>
          </p:cNvPr>
          <p:cNvSpPr/>
          <p:nvPr/>
        </p:nvSpPr>
        <p:spPr>
          <a:xfrm>
            <a:off x="1795503" y="2155454"/>
            <a:ext cx="5393476" cy="27568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DD9434E-D6F1-4D4B-B014-36AFFC2A39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Schwerpunktthemen im Innovationsmanagement der Bundeswehr</a:t>
            </a:r>
          </a:p>
          <a:p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0E2967B-22DB-489C-80E2-D0DFD7C30AA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413669" y="3525371"/>
            <a:ext cx="1569420" cy="1144082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219E11F9-C1DE-449A-AE98-8BF69721AE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57831" y="807603"/>
            <a:ext cx="2005923" cy="1337282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D8E61E37-46F7-4675-A64D-AA1EFB38B00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3611" y="780494"/>
            <a:ext cx="1163169" cy="1549401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FEDCF7DE-D852-47AF-9980-B006A694282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5401" t="6388" r="17964"/>
          <a:stretch/>
        </p:blipFill>
        <p:spPr>
          <a:xfrm>
            <a:off x="1832242" y="2209793"/>
            <a:ext cx="2625437" cy="263669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5E821166-E674-432A-B34C-4941F40AF50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69741" y="2222157"/>
            <a:ext cx="1813348" cy="1208899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18CCDD54-4480-453D-8923-AB1AFD381A3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21617" y="1074754"/>
            <a:ext cx="1958025" cy="880747"/>
          </a:xfrm>
          <a:prstGeom prst="rect">
            <a:avLst/>
          </a:prstGeom>
          <a:solidFill>
            <a:schemeClr val="bg1">
              <a:lumMod val="85000"/>
              <a:alpha val="79000"/>
            </a:schemeClr>
          </a:solidFill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1ECAC2A-5F01-4C74-8819-C22D89541CD8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8246" t="17941" b="10875"/>
          <a:stretch/>
        </p:blipFill>
        <p:spPr>
          <a:xfrm>
            <a:off x="4643355" y="818358"/>
            <a:ext cx="1958025" cy="1137143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AF74051F-D013-4F27-8A28-FC5DEB22637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659" y="3684142"/>
            <a:ext cx="1610969" cy="121291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A3A2E1B8-239F-44E1-871E-CA1DEE33003E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35" y="2446917"/>
            <a:ext cx="698752" cy="1097259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217C3C51-B3D7-42CF-AC5B-D7B2E45E2105}"/>
              </a:ext>
            </a:extLst>
          </p:cNvPr>
          <p:cNvSpPr txBox="1"/>
          <p:nvPr/>
        </p:nvSpPr>
        <p:spPr>
          <a:xfrm>
            <a:off x="7101808" y="4766627"/>
            <a:ext cx="2005923" cy="1920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800" dirty="0"/>
              <a:t>Quelle: Bundeswehr, Hersteller Typvertreter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B484B161-9F0F-4587-A238-7E9EEA5C1E04}"/>
              </a:ext>
            </a:extLst>
          </p:cNvPr>
          <p:cNvSpPr txBox="1"/>
          <p:nvPr/>
        </p:nvSpPr>
        <p:spPr>
          <a:xfrm>
            <a:off x="4537517" y="2221368"/>
            <a:ext cx="2532054" cy="263669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lIns="72000" tIns="72000" rIns="72000" bIns="0" rtlCol="0">
            <a:noAutofit/>
          </a:bodyPr>
          <a:lstStyle/>
          <a:p>
            <a:pPr algn="l"/>
            <a:r>
              <a:rPr lang="de-DE" sz="1400" b="1" dirty="0"/>
              <a:t>Themen Innovationsmanagement der Bundeswehr</a:t>
            </a:r>
          </a:p>
          <a:p>
            <a:pPr algn="l"/>
            <a:endParaRPr lang="de-DE" sz="1400" b="1" dirty="0"/>
          </a:p>
          <a:p>
            <a:pPr marL="171450" indent="-171450" algn="l">
              <a:buFontTx/>
              <a:buChar char="-"/>
            </a:pPr>
            <a:r>
              <a:rPr lang="de-DE" sz="1400" dirty="0"/>
              <a:t>Unbemannte Systeme</a:t>
            </a:r>
          </a:p>
          <a:p>
            <a:pPr marL="171450" indent="-171450" algn="l">
              <a:buFontTx/>
              <a:buChar char="-"/>
            </a:pPr>
            <a:r>
              <a:rPr lang="de-DE" sz="1400" dirty="0"/>
              <a:t>Multi-Domain-</a:t>
            </a:r>
            <a:r>
              <a:rPr lang="de-DE" sz="1400" dirty="0" err="1"/>
              <a:t>Operations</a:t>
            </a:r>
            <a:endParaRPr lang="de-DE" sz="1400" dirty="0"/>
          </a:p>
          <a:p>
            <a:pPr marL="171450" indent="-171450" algn="l">
              <a:buFontTx/>
              <a:buChar char="-"/>
            </a:pPr>
            <a:r>
              <a:rPr lang="de-DE" sz="1400" dirty="0"/>
              <a:t>Cyberverteidigung</a:t>
            </a:r>
          </a:p>
          <a:p>
            <a:pPr marL="171450" indent="-171450" algn="l">
              <a:buFontTx/>
              <a:buChar char="-"/>
            </a:pPr>
            <a:r>
              <a:rPr lang="de-DE" sz="1400" dirty="0"/>
              <a:t>Human Performance </a:t>
            </a:r>
            <a:r>
              <a:rPr lang="de-DE" sz="1400" dirty="0" err="1"/>
              <a:t>Modification</a:t>
            </a:r>
            <a:endParaRPr lang="de-DE" sz="1400" dirty="0"/>
          </a:p>
          <a:p>
            <a:pPr marL="171450" indent="-171450" algn="l">
              <a:buFontTx/>
              <a:buChar char="-"/>
            </a:pPr>
            <a:r>
              <a:rPr lang="de-DE" sz="1400" dirty="0"/>
              <a:t>5G/6G Anwendungen</a:t>
            </a:r>
          </a:p>
          <a:p>
            <a:pPr marL="171450" indent="-171450" algn="l">
              <a:buFontTx/>
              <a:buChar char="-"/>
            </a:pPr>
            <a:r>
              <a:rPr lang="de-DE" sz="1400" dirty="0"/>
              <a:t>Green Defence</a:t>
            </a:r>
          </a:p>
          <a:p>
            <a:pPr marL="171450" indent="-171450" algn="l">
              <a:buFontTx/>
              <a:buChar char="-"/>
            </a:pPr>
            <a:endParaRPr lang="de-DE" sz="1100" dirty="0"/>
          </a:p>
          <a:p>
            <a:pPr marL="171450" indent="-171450" algn="l">
              <a:buFontTx/>
              <a:buChar char="-"/>
            </a:pPr>
            <a:endParaRPr lang="de-DE" sz="1100" dirty="0"/>
          </a:p>
          <a:p>
            <a:pPr algn="l"/>
            <a:endParaRPr lang="de-DE" sz="110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F2A8BF7-1234-4C89-9A45-0AF885FC1EA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540493" y="757038"/>
            <a:ext cx="893385" cy="1371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3389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Shape 474">
            <a:extLst>
              <a:ext uri="{FF2B5EF4-FFF2-40B4-BE49-F238E27FC236}">
                <a16:creationId xmlns:a16="http://schemas.microsoft.com/office/drawing/2014/main" id="{E75CF023-D074-4AC5-B12C-5584C252FB9D}"/>
              </a:ext>
            </a:extLst>
          </p:cNvPr>
          <p:cNvSpPr/>
          <p:nvPr/>
        </p:nvSpPr>
        <p:spPr>
          <a:xfrm rot="16200000" flipH="1">
            <a:off x="4393353" y="1757647"/>
            <a:ext cx="434606" cy="0"/>
          </a:xfrm>
          <a:prstGeom prst="line">
            <a:avLst/>
          </a:prstGeom>
          <a:ln w="38100">
            <a:solidFill>
              <a:srgbClr val="485C6A"/>
            </a:solidFill>
            <a:miter lim="400000"/>
          </a:ln>
        </p:spPr>
        <p:txBody>
          <a:bodyPr lIns="71437" tIns="71437" rIns="71437" bIns="71437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767982"/>
                </a:solidFill>
                <a:latin typeface="Open Sans"/>
                <a:ea typeface="Open Sans"/>
                <a:cs typeface="Open Sans"/>
                <a:sym typeface="Open Sans"/>
              </a:defRPr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767982"/>
              </a:solidFill>
              <a:effectLst/>
              <a:uLnTx/>
              <a:uFillTx/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B46502A-3066-2441-A10A-5810F0284C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sz="1600" dirty="0"/>
              <a:t>Innovationsmanagement im Planungsamt </a:t>
            </a:r>
            <a:r>
              <a:rPr lang="de-DE" sz="1600"/>
              <a:t>der Bundeswehr: </a:t>
            </a:r>
            <a:r>
              <a:rPr lang="de-DE" sz="1600" dirty="0"/>
              <a:t>Was machen wir?</a:t>
            </a:r>
          </a:p>
        </p:txBody>
      </p:sp>
      <p:grpSp>
        <p:nvGrpSpPr>
          <p:cNvPr id="177" name="Gruppieren 176">
            <a:extLst>
              <a:ext uri="{FF2B5EF4-FFF2-40B4-BE49-F238E27FC236}">
                <a16:creationId xmlns:a16="http://schemas.microsoft.com/office/drawing/2014/main" id="{A23517C0-5FB1-48F8-9D9B-854D4B5CD547}"/>
              </a:ext>
            </a:extLst>
          </p:cNvPr>
          <p:cNvGrpSpPr>
            <a:grpSpLocks noChangeAspect="1"/>
          </p:cNvGrpSpPr>
          <p:nvPr/>
        </p:nvGrpSpPr>
        <p:grpSpPr>
          <a:xfrm>
            <a:off x="3095630" y="1670968"/>
            <a:ext cx="3039175" cy="2181217"/>
            <a:chOff x="3107929" y="1848271"/>
            <a:chExt cx="5896711" cy="4232072"/>
          </a:xfrm>
        </p:grpSpPr>
        <p:sp>
          <p:nvSpPr>
            <p:cNvPr id="201" name="Shape 467">
              <a:extLst>
                <a:ext uri="{FF2B5EF4-FFF2-40B4-BE49-F238E27FC236}">
                  <a16:creationId xmlns:a16="http://schemas.microsoft.com/office/drawing/2014/main" id="{FB7BC2BA-7B3F-4CCC-83E3-8D787244B0E0}"/>
                </a:ext>
              </a:extLst>
            </p:cNvPr>
            <p:cNvSpPr/>
            <p:nvPr/>
          </p:nvSpPr>
          <p:spPr>
            <a:xfrm>
              <a:off x="4546936" y="2463715"/>
              <a:ext cx="3001289" cy="3001288"/>
            </a:xfrm>
            <a:prstGeom prst="ellipse">
              <a:avLst/>
            </a:prstGeom>
            <a:solidFill>
              <a:srgbClr val="FFFFFF"/>
            </a:solidFill>
            <a:ln w="38100">
              <a:solidFill>
                <a:srgbClr val="485C6A"/>
              </a:solidFill>
              <a:miter lim="400000"/>
            </a:ln>
          </p:spPr>
          <p:txBody>
            <a:bodyPr lIns="71437" tIns="71437" rIns="71437" bIns="71437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solidFill>
                    <a:srgbClr val="767982"/>
                  </a:solidFill>
                  <a:latin typeface="Open Sans"/>
                  <a:ea typeface="Open Sans"/>
                  <a:cs typeface="Open Sans"/>
                  <a:sym typeface="Open Sans"/>
                </a:defRPr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767982"/>
                </a:solidFill>
                <a:effectLst/>
                <a:uLnTx/>
                <a:uFillTx/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grpSp>
          <p:nvGrpSpPr>
            <p:cNvPr id="203" name="Gruppieren 202">
              <a:extLst>
                <a:ext uri="{FF2B5EF4-FFF2-40B4-BE49-F238E27FC236}">
                  <a16:creationId xmlns:a16="http://schemas.microsoft.com/office/drawing/2014/main" id="{357C1F82-A2B8-421F-BC6A-353E3AF0578F}"/>
                </a:ext>
              </a:extLst>
            </p:cNvPr>
            <p:cNvGrpSpPr/>
            <p:nvPr/>
          </p:nvGrpSpPr>
          <p:grpSpPr>
            <a:xfrm>
              <a:off x="3107929" y="1848271"/>
              <a:ext cx="5896711" cy="4232072"/>
              <a:chOff x="3107929" y="1848271"/>
              <a:chExt cx="5896711" cy="4232072"/>
            </a:xfrm>
          </p:grpSpPr>
          <p:sp>
            <p:nvSpPr>
              <p:cNvPr id="204" name="Shape 469">
                <a:extLst>
                  <a:ext uri="{FF2B5EF4-FFF2-40B4-BE49-F238E27FC236}">
                    <a16:creationId xmlns:a16="http://schemas.microsoft.com/office/drawing/2014/main" id="{D027578A-FFA1-49A4-B261-FCC16D15511B}"/>
                  </a:ext>
                </a:extLst>
              </p:cNvPr>
              <p:cNvSpPr/>
              <p:nvPr/>
            </p:nvSpPr>
            <p:spPr>
              <a:xfrm flipV="1">
                <a:off x="7225769" y="2526478"/>
                <a:ext cx="500875" cy="500875"/>
              </a:xfrm>
              <a:prstGeom prst="line">
                <a:avLst/>
              </a:prstGeom>
              <a:ln w="38100">
                <a:solidFill>
                  <a:srgbClr val="485C6A"/>
                </a:solidFill>
                <a:miter lim="400000"/>
              </a:ln>
            </p:spPr>
            <p:txBody>
              <a:bodyPr lIns="71437" tIns="71437" rIns="71437" bIns="71437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>
                    <a:solidFill>
                      <a:srgbClr val="767982"/>
                    </a:solidFill>
                    <a:latin typeface="Open Sans"/>
                    <a:ea typeface="Open Sans"/>
                    <a:cs typeface="Open Sans"/>
                    <a:sym typeface="Open Sans"/>
                  </a:defRPr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767982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205" name="Shape 470">
                <a:extLst>
                  <a:ext uri="{FF2B5EF4-FFF2-40B4-BE49-F238E27FC236}">
                    <a16:creationId xmlns:a16="http://schemas.microsoft.com/office/drawing/2014/main" id="{877B6C09-3912-4D04-BD27-E437BBCA6227}"/>
                  </a:ext>
                </a:extLst>
              </p:cNvPr>
              <p:cNvSpPr/>
              <p:nvPr/>
            </p:nvSpPr>
            <p:spPr>
              <a:xfrm>
                <a:off x="7225770" y="4905359"/>
                <a:ext cx="507641" cy="507641"/>
              </a:xfrm>
              <a:prstGeom prst="line">
                <a:avLst/>
              </a:prstGeom>
              <a:ln w="38100">
                <a:solidFill>
                  <a:srgbClr val="485C6A"/>
                </a:solidFill>
                <a:miter lim="400000"/>
              </a:ln>
            </p:spPr>
            <p:txBody>
              <a:bodyPr lIns="71437" tIns="71437" rIns="71437" bIns="71437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>
                    <a:solidFill>
                      <a:srgbClr val="767982"/>
                    </a:solidFill>
                    <a:latin typeface="Open Sans"/>
                    <a:ea typeface="Open Sans"/>
                    <a:cs typeface="Open Sans"/>
                    <a:sym typeface="Open Sans"/>
                  </a:defRPr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767982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206" name="Shape 471">
                <a:extLst>
                  <a:ext uri="{FF2B5EF4-FFF2-40B4-BE49-F238E27FC236}">
                    <a16:creationId xmlns:a16="http://schemas.microsoft.com/office/drawing/2014/main" id="{B0DA7759-4CC2-447D-B96D-71811AD9AF25}"/>
                  </a:ext>
                </a:extLst>
              </p:cNvPr>
              <p:cNvSpPr/>
              <p:nvPr/>
            </p:nvSpPr>
            <p:spPr>
              <a:xfrm>
                <a:off x="7556598" y="3952160"/>
                <a:ext cx="843239" cy="0"/>
              </a:xfrm>
              <a:prstGeom prst="line">
                <a:avLst/>
              </a:prstGeom>
              <a:ln w="38100">
                <a:solidFill>
                  <a:srgbClr val="485C6A"/>
                </a:solidFill>
                <a:miter lim="400000"/>
              </a:ln>
            </p:spPr>
            <p:txBody>
              <a:bodyPr lIns="71437" tIns="71437" rIns="71437" bIns="71437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>
                    <a:solidFill>
                      <a:srgbClr val="767982"/>
                    </a:solidFill>
                    <a:latin typeface="Open Sans"/>
                    <a:ea typeface="Open Sans"/>
                    <a:cs typeface="Open Sans"/>
                    <a:sym typeface="Open Sans"/>
                  </a:defRPr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767982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207" name="Shape 472">
                <a:extLst>
                  <a:ext uri="{FF2B5EF4-FFF2-40B4-BE49-F238E27FC236}">
                    <a16:creationId xmlns:a16="http://schemas.microsoft.com/office/drawing/2014/main" id="{C18C68E3-C2C9-4965-99B6-8F071BA769C2}"/>
                  </a:ext>
                </a:extLst>
              </p:cNvPr>
              <p:cNvSpPr/>
              <p:nvPr/>
            </p:nvSpPr>
            <p:spPr>
              <a:xfrm flipH="1" flipV="1">
                <a:off x="4420658" y="2519891"/>
                <a:ext cx="480446" cy="480446"/>
              </a:xfrm>
              <a:prstGeom prst="line">
                <a:avLst/>
              </a:prstGeom>
              <a:ln w="38100">
                <a:solidFill>
                  <a:srgbClr val="485C6A"/>
                </a:solidFill>
                <a:miter lim="400000"/>
              </a:ln>
            </p:spPr>
            <p:txBody>
              <a:bodyPr lIns="71437" tIns="71437" rIns="71437" bIns="71437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>
                    <a:solidFill>
                      <a:srgbClr val="767982"/>
                    </a:solidFill>
                    <a:latin typeface="Open Sans"/>
                    <a:ea typeface="Open Sans"/>
                    <a:cs typeface="Open Sans"/>
                    <a:sym typeface="Open Sans"/>
                  </a:defRPr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767982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208" name="Shape 473">
                <a:extLst>
                  <a:ext uri="{FF2B5EF4-FFF2-40B4-BE49-F238E27FC236}">
                    <a16:creationId xmlns:a16="http://schemas.microsoft.com/office/drawing/2014/main" id="{6B81663D-3CCA-476E-82DC-B0C4BADC2557}"/>
                  </a:ext>
                </a:extLst>
              </p:cNvPr>
              <p:cNvSpPr/>
              <p:nvPr/>
            </p:nvSpPr>
            <p:spPr>
              <a:xfrm flipH="1">
                <a:off x="4353417" y="4900197"/>
                <a:ext cx="522372" cy="522372"/>
              </a:xfrm>
              <a:prstGeom prst="line">
                <a:avLst/>
              </a:prstGeom>
              <a:ln w="38100">
                <a:solidFill>
                  <a:srgbClr val="485C6A"/>
                </a:solidFill>
                <a:miter lim="400000"/>
              </a:ln>
            </p:spPr>
            <p:txBody>
              <a:bodyPr lIns="71437" tIns="71437" rIns="71437" bIns="71437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>
                    <a:solidFill>
                      <a:srgbClr val="767982"/>
                    </a:solidFill>
                    <a:latin typeface="Open Sans"/>
                    <a:ea typeface="Open Sans"/>
                    <a:cs typeface="Open Sans"/>
                    <a:sym typeface="Open Sans"/>
                  </a:defRPr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767982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209" name="Shape 474">
                <a:extLst>
                  <a:ext uri="{FF2B5EF4-FFF2-40B4-BE49-F238E27FC236}">
                    <a16:creationId xmlns:a16="http://schemas.microsoft.com/office/drawing/2014/main" id="{ADDB3715-B33E-427E-8121-23B7D9A18F2A}"/>
                  </a:ext>
                </a:extLst>
              </p:cNvPr>
              <p:cNvSpPr/>
              <p:nvPr/>
            </p:nvSpPr>
            <p:spPr>
              <a:xfrm flipH="1">
                <a:off x="3693761" y="3948193"/>
                <a:ext cx="843237" cy="0"/>
              </a:xfrm>
              <a:prstGeom prst="line">
                <a:avLst/>
              </a:prstGeom>
              <a:ln w="38100">
                <a:solidFill>
                  <a:srgbClr val="485C6A"/>
                </a:solidFill>
                <a:miter lim="400000"/>
              </a:ln>
            </p:spPr>
            <p:txBody>
              <a:bodyPr lIns="71437" tIns="71437" rIns="71437" bIns="71437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2400">
                    <a:solidFill>
                      <a:srgbClr val="767982"/>
                    </a:solidFill>
                    <a:latin typeface="Open Sans"/>
                    <a:ea typeface="Open Sans"/>
                    <a:cs typeface="Open Sans"/>
                    <a:sym typeface="Open Sans"/>
                  </a:defRPr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767982"/>
                  </a:solidFill>
                  <a:effectLst/>
                  <a:uLnTx/>
                  <a:uFillTx/>
                  <a:latin typeface="Open Sans"/>
                  <a:ea typeface="Open Sans"/>
                  <a:cs typeface="Open Sans"/>
                  <a:sym typeface="Open Sans"/>
                </a:endParaRPr>
              </a:p>
            </p:txBody>
          </p:sp>
          <p:sp>
            <p:nvSpPr>
              <p:cNvPr id="210" name="Shape 475">
                <a:extLst>
                  <a:ext uri="{FF2B5EF4-FFF2-40B4-BE49-F238E27FC236}">
                    <a16:creationId xmlns:a16="http://schemas.microsoft.com/office/drawing/2014/main" id="{F690727D-A920-4F74-9BE0-3FD4B98619F4}"/>
                  </a:ext>
                </a:extLst>
              </p:cNvPr>
              <p:cNvSpPr/>
              <p:nvPr/>
            </p:nvSpPr>
            <p:spPr>
              <a:xfrm>
                <a:off x="7225769" y="1848271"/>
                <a:ext cx="1158029" cy="1158029"/>
              </a:xfrm>
              <a:prstGeom prst="ellipse">
                <a:avLst/>
              </a:prstGeom>
              <a:solidFill>
                <a:srgbClr val="FFFFFF"/>
              </a:solidFill>
              <a:ln w="38100">
                <a:solidFill>
                  <a:srgbClr val="647B8A"/>
                </a:solidFill>
                <a:miter lim="400000"/>
              </a:ln>
            </p:spPr>
            <p:txBody>
              <a:bodyPr lIns="45719" rIns="45719" anchor="ctr"/>
              <a:lstStyle/>
              <a:p>
                <a:pPr marL="0" marR="0" lvl="0" indent="0" algn="ctr" defTabSz="2286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ext</a:t>
                </a:r>
              </a:p>
            </p:txBody>
          </p:sp>
          <p:sp>
            <p:nvSpPr>
              <p:cNvPr id="211" name="Shape 476">
                <a:extLst>
                  <a:ext uri="{FF2B5EF4-FFF2-40B4-BE49-F238E27FC236}">
                    <a16:creationId xmlns:a16="http://schemas.microsoft.com/office/drawing/2014/main" id="{DA7AE9E4-73BB-4524-8D90-FBA2F085E8DA}"/>
                  </a:ext>
                </a:extLst>
              </p:cNvPr>
              <p:cNvSpPr/>
              <p:nvPr/>
            </p:nvSpPr>
            <p:spPr>
              <a:xfrm>
                <a:off x="7846611" y="3387057"/>
                <a:ext cx="1158029" cy="1158029"/>
              </a:xfrm>
              <a:prstGeom prst="ellipse">
                <a:avLst/>
              </a:prstGeom>
              <a:solidFill>
                <a:srgbClr val="FFFFFF"/>
              </a:solidFill>
              <a:ln w="38100">
                <a:solidFill>
                  <a:srgbClr val="647B8A"/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2286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ext</a:t>
                </a:r>
              </a:p>
            </p:txBody>
          </p:sp>
          <p:sp>
            <p:nvSpPr>
              <p:cNvPr id="212" name="Shape 477">
                <a:extLst>
                  <a:ext uri="{FF2B5EF4-FFF2-40B4-BE49-F238E27FC236}">
                    <a16:creationId xmlns:a16="http://schemas.microsoft.com/office/drawing/2014/main" id="{2AF0F308-07BD-40F1-AEAE-314F8B556939}"/>
                  </a:ext>
                </a:extLst>
              </p:cNvPr>
              <p:cNvSpPr/>
              <p:nvPr/>
            </p:nvSpPr>
            <p:spPr>
              <a:xfrm>
                <a:off x="7299587" y="4922314"/>
                <a:ext cx="1158029" cy="1158029"/>
              </a:xfrm>
              <a:prstGeom prst="ellipse">
                <a:avLst/>
              </a:prstGeom>
              <a:solidFill>
                <a:srgbClr val="FFFFFF"/>
              </a:solidFill>
              <a:ln w="38100">
                <a:solidFill>
                  <a:srgbClr val="647B8A"/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2286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ext</a:t>
                </a:r>
              </a:p>
            </p:txBody>
          </p:sp>
          <p:sp>
            <p:nvSpPr>
              <p:cNvPr id="213" name="Shape 478">
                <a:extLst>
                  <a:ext uri="{FF2B5EF4-FFF2-40B4-BE49-F238E27FC236}">
                    <a16:creationId xmlns:a16="http://schemas.microsoft.com/office/drawing/2014/main" id="{B2121140-095D-4078-81D0-95201626B92B}"/>
                  </a:ext>
                </a:extLst>
              </p:cNvPr>
              <p:cNvSpPr/>
              <p:nvPr/>
            </p:nvSpPr>
            <p:spPr>
              <a:xfrm flipH="1">
                <a:off x="3707015" y="1848271"/>
                <a:ext cx="1158029" cy="1158029"/>
              </a:xfrm>
              <a:prstGeom prst="ellipse">
                <a:avLst/>
              </a:prstGeom>
              <a:solidFill>
                <a:srgbClr val="FFFFFF"/>
              </a:solidFill>
              <a:ln w="38100">
                <a:solidFill>
                  <a:srgbClr val="647B8A"/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2286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ext</a:t>
                </a:r>
              </a:p>
            </p:txBody>
          </p:sp>
          <p:sp>
            <p:nvSpPr>
              <p:cNvPr id="214" name="Shape 479">
                <a:extLst>
                  <a:ext uri="{FF2B5EF4-FFF2-40B4-BE49-F238E27FC236}">
                    <a16:creationId xmlns:a16="http://schemas.microsoft.com/office/drawing/2014/main" id="{914F82A0-9B17-4090-A709-FF305D989ECF}"/>
                  </a:ext>
                </a:extLst>
              </p:cNvPr>
              <p:cNvSpPr/>
              <p:nvPr/>
            </p:nvSpPr>
            <p:spPr>
              <a:xfrm flipH="1">
                <a:off x="3107929" y="3383989"/>
                <a:ext cx="1158029" cy="1158029"/>
              </a:xfrm>
              <a:prstGeom prst="ellipse">
                <a:avLst/>
              </a:prstGeom>
              <a:solidFill>
                <a:srgbClr val="FFFFFF"/>
              </a:solidFill>
              <a:ln w="38100">
                <a:solidFill>
                  <a:srgbClr val="647B8A"/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2286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ext</a:t>
                </a:r>
              </a:p>
            </p:txBody>
          </p:sp>
          <p:sp>
            <p:nvSpPr>
              <p:cNvPr id="215" name="Shape 480">
                <a:extLst>
                  <a:ext uri="{FF2B5EF4-FFF2-40B4-BE49-F238E27FC236}">
                    <a16:creationId xmlns:a16="http://schemas.microsoft.com/office/drawing/2014/main" id="{6D61B1BC-409E-498C-8B3F-9A23C5F24989}"/>
                  </a:ext>
                </a:extLst>
              </p:cNvPr>
              <p:cNvSpPr/>
              <p:nvPr/>
            </p:nvSpPr>
            <p:spPr>
              <a:xfrm flipH="1">
                <a:off x="3666575" y="4922314"/>
                <a:ext cx="1158029" cy="1158029"/>
              </a:xfrm>
              <a:prstGeom prst="ellipse">
                <a:avLst/>
              </a:prstGeom>
              <a:solidFill>
                <a:srgbClr val="FFFFFF"/>
              </a:solidFill>
              <a:ln w="38100">
                <a:solidFill>
                  <a:srgbClr val="647B8A"/>
                </a:solidFill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2286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Text</a:t>
                </a:r>
              </a:p>
            </p:txBody>
          </p:sp>
        </p:grpSp>
      </p:grpSp>
      <p:sp>
        <p:nvSpPr>
          <p:cNvPr id="224" name="Ellipse 223">
            <a:extLst>
              <a:ext uri="{FF2B5EF4-FFF2-40B4-BE49-F238E27FC236}">
                <a16:creationId xmlns:a16="http://schemas.microsoft.com/office/drawing/2014/main" id="{8EFFDB33-959B-43CD-9C52-9122A52A0066}"/>
              </a:ext>
            </a:extLst>
          </p:cNvPr>
          <p:cNvSpPr/>
          <p:nvPr/>
        </p:nvSpPr>
        <p:spPr>
          <a:xfrm>
            <a:off x="4132996" y="2291155"/>
            <a:ext cx="936000" cy="936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33" name="Gruppieren 232">
            <a:extLst>
              <a:ext uri="{FF2B5EF4-FFF2-40B4-BE49-F238E27FC236}">
                <a16:creationId xmlns:a16="http://schemas.microsoft.com/office/drawing/2014/main" id="{1AABFD11-4566-4B5C-8B12-76E1CC7480AE}"/>
              </a:ext>
            </a:extLst>
          </p:cNvPr>
          <p:cNvGrpSpPr>
            <a:grpSpLocks noChangeAspect="1"/>
          </p:cNvGrpSpPr>
          <p:nvPr/>
        </p:nvGrpSpPr>
        <p:grpSpPr>
          <a:xfrm>
            <a:off x="3558499" y="3424552"/>
            <a:ext cx="256200" cy="252000"/>
            <a:chOff x="3531206" y="7110238"/>
            <a:chExt cx="581025" cy="571500"/>
          </a:xfrm>
        </p:grpSpPr>
        <p:sp>
          <p:nvSpPr>
            <p:cNvPr id="234" name="Freihandform: Form 301">
              <a:extLst>
                <a:ext uri="{FF2B5EF4-FFF2-40B4-BE49-F238E27FC236}">
                  <a16:creationId xmlns:a16="http://schemas.microsoft.com/office/drawing/2014/main" id="{4A911630-8CD4-48DF-8FCC-4FE3E39EBEBD}"/>
                </a:ext>
              </a:extLst>
            </p:cNvPr>
            <p:cNvSpPr/>
            <p:nvPr/>
          </p:nvSpPr>
          <p:spPr>
            <a:xfrm>
              <a:off x="3750281" y="7215013"/>
              <a:ext cx="133350" cy="57150"/>
            </a:xfrm>
            <a:custGeom>
              <a:avLst/>
              <a:gdLst>
                <a:gd name="connsiteX0" fmla="*/ 133350 w 133350"/>
                <a:gd name="connsiteY0" fmla="*/ 57150 h 57150"/>
                <a:gd name="connsiteX1" fmla="*/ 0 w 133350"/>
                <a:gd name="connsiteY1" fmla="*/ 57150 h 57150"/>
                <a:gd name="connsiteX2" fmla="*/ 0 w 133350"/>
                <a:gd name="connsiteY2" fmla="*/ 57150 h 57150"/>
                <a:gd name="connsiteX3" fmla="*/ 57150 w 133350"/>
                <a:gd name="connsiteY3" fmla="*/ 0 h 57150"/>
                <a:gd name="connsiteX4" fmla="*/ 76200 w 133350"/>
                <a:gd name="connsiteY4" fmla="*/ 0 h 57150"/>
                <a:gd name="connsiteX5" fmla="*/ 133350 w 133350"/>
                <a:gd name="connsiteY5" fmla="*/ 57150 h 57150"/>
                <a:gd name="connsiteX6" fmla="*/ 133350 w 133350"/>
                <a:gd name="connsiteY6" fmla="*/ 5715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350" h="57150">
                  <a:moveTo>
                    <a:pt x="133350" y="57150"/>
                  </a:moveTo>
                  <a:lnTo>
                    <a:pt x="0" y="57150"/>
                  </a:lnTo>
                  <a:lnTo>
                    <a:pt x="0" y="57150"/>
                  </a:lnTo>
                  <a:cubicBezTo>
                    <a:pt x="0" y="25717"/>
                    <a:pt x="25718" y="0"/>
                    <a:pt x="57150" y="0"/>
                  </a:cubicBezTo>
                  <a:lnTo>
                    <a:pt x="76200" y="0"/>
                  </a:lnTo>
                  <a:cubicBezTo>
                    <a:pt x="107632" y="0"/>
                    <a:pt x="133350" y="25717"/>
                    <a:pt x="133350" y="57150"/>
                  </a:cubicBezTo>
                  <a:lnTo>
                    <a:pt x="133350" y="57150"/>
                  </a:ln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" name="Freihandform: Form 302">
              <a:extLst>
                <a:ext uri="{FF2B5EF4-FFF2-40B4-BE49-F238E27FC236}">
                  <a16:creationId xmlns:a16="http://schemas.microsoft.com/office/drawing/2014/main" id="{3D9AE77E-38DA-41DA-99FD-E350E6768842}"/>
                </a:ext>
              </a:extLst>
            </p:cNvPr>
            <p:cNvSpPr/>
            <p:nvPr/>
          </p:nvSpPr>
          <p:spPr>
            <a:xfrm>
              <a:off x="3778856" y="7110238"/>
              <a:ext cx="76200" cy="76200"/>
            </a:xfrm>
            <a:custGeom>
              <a:avLst/>
              <a:gdLst>
                <a:gd name="connsiteX0" fmla="*/ 76200 w 76200"/>
                <a:gd name="connsiteY0" fmla="*/ 38100 h 76200"/>
                <a:gd name="connsiteX1" fmla="*/ 38100 w 76200"/>
                <a:gd name="connsiteY1" fmla="*/ 76200 h 76200"/>
                <a:gd name="connsiteX2" fmla="*/ 0 w 76200"/>
                <a:gd name="connsiteY2" fmla="*/ 38100 h 76200"/>
                <a:gd name="connsiteX3" fmla="*/ 38100 w 76200"/>
                <a:gd name="connsiteY3" fmla="*/ 0 h 76200"/>
                <a:gd name="connsiteX4" fmla="*/ 76200 w 76200"/>
                <a:gd name="connsiteY4" fmla="*/ 381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6200" y="38100"/>
                  </a:moveTo>
                  <a:cubicBezTo>
                    <a:pt x="76200" y="59142"/>
                    <a:pt x="59142" y="76200"/>
                    <a:pt x="38100" y="76200"/>
                  </a:cubicBezTo>
                  <a:cubicBezTo>
                    <a:pt x="17058" y="76200"/>
                    <a:pt x="0" y="59142"/>
                    <a:pt x="0" y="38100"/>
                  </a:cubicBezTo>
                  <a:cubicBezTo>
                    <a:pt x="0" y="17058"/>
                    <a:pt x="17058" y="0"/>
                    <a:pt x="38100" y="0"/>
                  </a:cubicBezTo>
                  <a:cubicBezTo>
                    <a:pt x="59142" y="0"/>
                    <a:pt x="76200" y="17058"/>
                    <a:pt x="76200" y="38100"/>
                  </a:cubicBez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" name="Freihandform: Form 303">
              <a:extLst>
                <a:ext uri="{FF2B5EF4-FFF2-40B4-BE49-F238E27FC236}">
                  <a16:creationId xmlns:a16="http://schemas.microsoft.com/office/drawing/2014/main" id="{8970ABBA-BD5A-4F58-80FD-5BE935E2574C}"/>
                </a:ext>
              </a:extLst>
            </p:cNvPr>
            <p:cNvSpPr/>
            <p:nvPr/>
          </p:nvSpPr>
          <p:spPr>
            <a:xfrm>
              <a:off x="3531206" y="7300738"/>
              <a:ext cx="133350" cy="57150"/>
            </a:xfrm>
            <a:custGeom>
              <a:avLst/>
              <a:gdLst>
                <a:gd name="connsiteX0" fmla="*/ 133350 w 133350"/>
                <a:gd name="connsiteY0" fmla="*/ 57150 h 57150"/>
                <a:gd name="connsiteX1" fmla="*/ 0 w 133350"/>
                <a:gd name="connsiteY1" fmla="*/ 57150 h 57150"/>
                <a:gd name="connsiteX2" fmla="*/ 0 w 133350"/>
                <a:gd name="connsiteY2" fmla="*/ 57150 h 57150"/>
                <a:gd name="connsiteX3" fmla="*/ 57150 w 133350"/>
                <a:gd name="connsiteY3" fmla="*/ 0 h 57150"/>
                <a:gd name="connsiteX4" fmla="*/ 76200 w 133350"/>
                <a:gd name="connsiteY4" fmla="*/ 0 h 57150"/>
                <a:gd name="connsiteX5" fmla="*/ 133350 w 133350"/>
                <a:gd name="connsiteY5" fmla="*/ 57150 h 57150"/>
                <a:gd name="connsiteX6" fmla="*/ 133350 w 133350"/>
                <a:gd name="connsiteY6" fmla="*/ 5715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350" h="57150">
                  <a:moveTo>
                    <a:pt x="133350" y="57150"/>
                  </a:moveTo>
                  <a:lnTo>
                    <a:pt x="0" y="57150"/>
                  </a:lnTo>
                  <a:lnTo>
                    <a:pt x="0" y="57150"/>
                  </a:lnTo>
                  <a:cubicBezTo>
                    <a:pt x="0" y="25718"/>
                    <a:pt x="25718" y="0"/>
                    <a:pt x="57150" y="0"/>
                  </a:cubicBezTo>
                  <a:lnTo>
                    <a:pt x="76200" y="0"/>
                  </a:lnTo>
                  <a:cubicBezTo>
                    <a:pt x="107633" y="0"/>
                    <a:pt x="133350" y="25718"/>
                    <a:pt x="133350" y="57150"/>
                  </a:cubicBezTo>
                  <a:lnTo>
                    <a:pt x="133350" y="57150"/>
                  </a:ln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" name="Freihandform: Form 304">
              <a:extLst>
                <a:ext uri="{FF2B5EF4-FFF2-40B4-BE49-F238E27FC236}">
                  <a16:creationId xmlns:a16="http://schemas.microsoft.com/office/drawing/2014/main" id="{8CB531DB-24E9-4E7D-BB51-1856D36C2B88}"/>
                </a:ext>
              </a:extLst>
            </p:cNvPr>
            <p:cNvSpPr/>
            <p:nvPr/>
          </p:nvSpPr>
          <p:spPr>
            <a:xfrm>
              <a:off x="3559781" y="7195963"/>
              <a:ext cx="76200" cy="76200"/>
            </a:xfrm>
            <a:custGeom>
              <a:avLst/>
              <a:gdLst>
                <a:gd name="connsiteX0" fmla="*/ 76200 w 76200"/>
                <a:gd name="connsiteY0" fmla="*/ 38100 h 76200"/>
                <a:gd name="connsiteX1" fmla="*/ 38100 w 76200"/>
                <a:gd name="connsiteY1" fmla="*/ 76200 h 76200"/>
                <a:gd name="connsiteX2" fmla="*/ 0 w 76200"/>
                <a:gd name="connsiteY2" fmla="*/ 38100 h 76200"/>
                <a:gd name="connsiteX3" fmla="*/ 38100 w 76200"/>
                <a:gd name="connsiteY3" fmla="*/ 0 h 76200"/>
                <a:gd name="connsiteX4" fmla="*/ 76200 w 76200"/>
                <a:gd name="connsiteY4" fmla="*/ 381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6200" y="38100"/>
                  </a:moveTo>
                  <a:cubicBezTo>
                    <a:pt x="76200" y="59142"/>
                    <a:pt x="59142" y="76200"/>
                    <a:pt x="38100" y="76200"/>
                  </a:cubicBezTo>
                  <a:cubicBezTo>
                    <a:pt x="17058" y="76200"/>
                    <a:pt x="0" y="59142"/>
                    <a:pt x="0" y="38100"/>
                  </a:cubicBezTo>
                  <a:cubicBezTo>
                    <a:pt x="0" y="17058"/>
                    <a:pt x="17058" y="0"/>
                    <a:pt x="38100" y="0"/>
                  </a:cubicBezTo>
                  <a:cubicBezTo>
                    <a:pt x="59142" y="0"/>
                    <a:pt x="76200" y="17058"/>
                    <a:pt x="76200" y="38100"/>
                  </a:cubicBez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" name="Freihandform: Form 305">
              <a:extLst>
                <a:ext uri="{FF2B5EF4-FFF2-40B4-BE49-F238E27FC236}">
                  <a16:creationId xmlns:a16="http://schemas.microsoft.com/office/drawing/2014/main" id="{D3C179CF-28F2-4668-B470-0FB30817F6D3}"/>
                </a:ext>
              </a:extLst>
            </p:cNvPr>
            <p:cNvSpPr/>
            <p:nvPr/>
          </p:nvSpPr>
          <p:spPr>
            <a:xfrm>
              <a:off x="3978881" y="7300738"/>
              <a:ext cx="133350" cy="57150"/>
            </a:xfrm>
            <a:custGeom>
              <a:avLst/>
              <a:gdLst>
                <a:gd name="connsiteX0" fmla="*/ 133350 w 133350"/>
                <a:gd name="connsiteY0" fmla="*/ 57150 h 57150"/>
                <a:gd name="connsiteX1" fmla="*/ 0 w 133350"/>
                <a:gd name="connsiteY1" fmla="*/ 57150 h 57150"/>
                <a:gd name="connsiteX2" fmla="*/ 0 w 133350"/>
                <a:gd name="connsiteY2" fmla="*/ 57150 h 57150"/>
                <a:gd name="connsiteX3" fmla="*/ 57150 w 133350"/>
                <a:gd name="connsiteY3" fmla="*/ 0 h 57150"/>
                <a:gd name="connsiteX4" fmla="*/ 76200 w 133350"/>
                <a:gd name="connsiteY4" fmla="*/ 0 h 57150"/>
                <a:gd name="connsiteX5" fmla="*/ 133350 w 133350"/>
                <a:gd name="connsiteY5" fmla="*/ 57150 h 57150"/>
                <a:gd name="connsiteX6" fmla="*/ 133350 w 133350"/>
                <a:gd name="connsiteY6" fmla="*/ 5715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3350" h="57150">
                  <a:moveTo>
                    <a:pt x="133350" y="57150"/>
                  </a:moveTo>
                  <a:lnTo>
                    <a:pt x="0" y="57150"/>
                  </a:lnTo>
                  <a:lnTo>
                    <a:pt x="0" y="57150"/>
                  </a:lnTo>
                  <a:cubicBezTo>
                    <a:pt x="0" y="25718"/>
                    <a:pt x="25718" y="0"/>
                    <a:pt x="57150" y="0"/>
                  </a:cubicBezTo>
                  <a:lnTo>
                    <a:pt x="76200" y="0"/>
                  </a:lnTo>
                  <a:cubicBezTo>
                    <a:pt x="107632" y="0"/>
                    <a:pt x="133350" y="25718"/>
                    <a:pt x="133350" y="57150"/>
                  </a:cubicBezTo>
                  <a:lnTo>
                    <a:pt x="133350" y="57150"/>
                  </a:ln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" name="Freihandform: Form 306">
              <a:extLst>
                <a:ext uri="{FF2B5EF4-FFF2-40B4-BE49-F238E27FC236}">
                  <a16:creationId xmlns:a16="http://schemas.microsoft.com/office/drawing/2014/main" id="{2AC7149F-4D0A-4C81-A800-593E430FD485}"/>
                </a:ext>
              </a:extLst>
            </p:cNvPr>
            <p:cNvSpPr/>
            <p:nvPr/>
          </p:nvSpPr>
          <p:spPr>
            <a:xfrm>
              <a:off x="4007456" y="7195963"/>
              <a:ext cx="76200" cy="76200"/>
            </a:xfrm>
            <a:custGeom>
              <a:avLst/>
              <a:gdLst>
                <a:gd name="connsiteX0" fmla="*/ 76200 w 76200"/>
                <a:gd name="connsiteY0" fmla="*/ 38100 h 76200"/>
                <a:gd name="connsiteX1" fmla="*/ 38100 w 76200"/>
                <a:gd name="connsiteY1" fmla="*/ 76200 h 76200"/>
                <a:gd name="connsiteX2" fmla="*/ 0 w 76200"/>
                <a:gd name="connsiteY2" fmla="*/ 38100 h 76200"/>
                <a:gd name="connsiteX3" fmla="*/ 38100 w 76200"/>
                <a:gd name="connsiteY3" fmla="*/ 0 h 76200"/>
                <a:gd name="connsiteX4" fmla="*/ 76200 w 76200"/>
                <a:gd name="connsiteY4" fmla="*/ 381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6200" y="38100"/>
                  </a:moveTo>
                  <a:cubicBezTo>
                    <a:pt x="76200" y="59142"/>
                    <a:pt x="59142" y="76200"/>
                    <a:pt x="38100" y="76200"/>
                  </a:cubicBezTo>
                  <a:cubicBezTo>
                    <a:pt x="17058" y="76200"/>
                    <a:pt x="0" y="59142"/>
                    <a:pt x="0" y="38100"/>
                  </a:cubicBezTo>
                  <a:cubicBezTo>
                    <a:pt x="0" y="17058"/>
                    <a:pt x="17058" y="0"/>
                    <a:pt x="38100" y="0"/>
                  </a:cubicBezTo>
                  <a:cubicBezTo>
                    <a:pt x="59142" y="0"/>
                    <a:pt x="76200" y="17058"/>
                    <a:pt x="76200" y="38100"/>
                  </a:cubicBez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" name="Freihandform: Form 307">
              <a:extLst>
                <a:ext uri="{FF2B5EF4-FFF2-40B4-BE49-F238E27FC236}">
                  <a16:creationId xmlns:a16="http://schemas.microsoft.com/office/drawing/2014/main" id="{5E049A61-94B0-4F78-94FB-4B09074BA2A9}"/>
                </a:ext>
              </a:extLst>
            </p:cNvPr>
            <p:cNvSpPr/>
            <p:nvPr/>
          </p:nvSpPr>
          <p:spPr>
            <a:xfrm>
              <a:off x="3731231" y="7348363"/>
              <a:ext cx="171450" cy="171450"/>
            </a:xfrm>
            <a:custGeom>
              <a:avLst/>
              <a:gdLst>
                <a:gd name="connsiteX0" fmla="*/ 171450 w 171450"/>
                <a:gd name="connsiteY0" fmla="*/ 85725 h 171450"/>
                <a:gd name="connsiteX1" fmla="*/ 85725 w 171450"/>
                <a:gd name="connsiteY1" fmla="*/ 171450 h 171450"/>
                <a:gd name="connsiteX2" fmla="*/ 0 w 171450"/>
                <a:gd name="connsiteY2" fmla="*/ 85725 h 171450"/>
                <a:gd name="connsiteX3" fmla="*/ 85725 w 171450"/>
                <a:gd name="connsiteY3" fmla="*/ 0 h 171450"/>
                <a:gd name="connsiteX4" fmla="*/ 171450 w 171450"/>
                <a:gd name="connsiteY4" fmla="*/ 85725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50" h="171450">
                  <a:moveTo>
                    <a:pt x="171450" y="85725"/>
                  </a:moveTo>
                  <a:cubicBezTo>
                    <a:pt x="171450" y="133070"/>
                    <a:pt x="133070" y="171450"/>
                    <a:pt x="85725" y="171450"/>
                  </a:cubicBezTo>
                  <a:cubicBezTo>
                    <a:pt x="38380" y="171450"/>
                    <a:pt x="0" y="133070"/>
                    <a:pt x="0" y="85725"/>
                  </a:cubicBezTo>
                  <a:cubicBezTo>
                    <a:pt x="0" y="38380"/>
                    <a:pt x="38380" y="0"/>
                    <a:pt x="85725" y="0"/>
                  </a:cubicBezTo>
                  <a:cubicBezTo>
                    <a:pt x="133070" y="0"/>
                    <a:pt x="171450" y="38380"/>
                    <a:pt x="171450" y="85725"/>
                  </a:cubicBez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" name="Freihandform: Form 308">
              <a:extLst>
                <a:ext uri="{FF2B5EF4-FFF2-40B4-BE49-F238E27FC236}">
                  <a16:creationId xmlns:a16="http://schemas.microsoft.com/office/drawing/2014/main" id="{A1DE1C08-79C7-45DB-AE62-61289FDD7FDF}"/>
                </a:ext>
              </a:extLst>
            </p:cNvPr>
            <p:cNvSpPr/>
            <p:nvPr/>
          </p:nvSpPr>
          <p:spPr>
            <a:xfrm>
              <a:off x="3674081" y="7567438"/>
              <a:ext cx="285750" cy="114300"/>
            </a:xfrm>
            <a:custGeom>
              <a:avLst/>
              <a:gdLst>
                <a:gd name="connsiteX0" fmla="*/ 171450 w 285750"/>
                <a:gd name="connsiteY0" fmla="*/ 0 h 114300"/>
                <a:gd name="connsiteX1" fmla="*/ 114300 w 285750"/>
                <a:gd name="connsiteY1" fmla="*/ 0 h 114300"/>
                <a:gd name="connsiteX2" fmla="*/ 0 w 285750"/>
                <a:gd name="connsiteY2" fmla="*/ 114300 h 114300"/>
                <a:gd name="connsiteX3" fmla="*/ 0 w 285750"/>
                <a:gd name="connsiteY3" fmla="*/ 114300 h 114300"/>
                <a:gd name="connsiteX4" fmla="*/ 285750 w 285750"/>
                <a:gd name="connsiteY4" fmla="*/ 114300 h 114300"/>
                <a:gd name="connsiteX5" fmla="*/ 285750 w 285750"/>
                <a:gd name="connsiteY5" fmla="*/ 114300 h 114300"/>
                <a:gd name="connsiteX6" fmla="*/ 171450 w 285750"/>
                <a:gd name="connsiteY6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750" h="114300">
                  <a:moveTo>
                    <a:pt x="171450" y="0"/>
                  </a:moveTo>
                  <a:lnTo>
                    <a:pt x="114300" y="0"/>
                  </a:lnTo>
                  <a:cubicBezTo>
                    <a:pt x="51435" y="0"/>
                    <a:pt x="0" y="51435"/>
                    <a:pt x="0" y="114300"/>
                  </a:cubicBezTo>
                  <a:lnTo>
                    <a:pt x="0" y="114300"/>
                  </a:lnTo>
                  <a:lnTo>
                    <a:pt x="285750" y="114300"/>
                  </a:lnTo>
                  <a:lnTo>
                    <a:pt x="285750" y="114300"/>
                  </a:lnTo>
                  <a:cubicBezTo>
                    <a:pt x="285750" y="51435"/>
                    <a:pt x="234315" y="0"/>
                    <a:pt x="171450" y="0"/>
                  </a:cubicBez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43" name="Textfeld 242">
            <a:extLst>
              <a:ext uri="{FF2B5EF4-FFF2-40B4-BE49-F238E27FC236}">
                <a16:creationId xmlns:a16="http://schemas.microsoft.com/office/drawing/2014/main" id="{6161683A-24A8-4770-B194-839ECFC4C17F}"/>
              </a:ext>
            </a:extLst>
          </p:cNvPr>
          <p:cNvSpPr txBox="1"/>
          <p:nvPr/>
        </p:nvSpPr>
        <p:spPr>
          <a:xfrm>
            <a:off x="1027632" y="3399617"/>
            <a:ext cx="2170391" cy="470147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0" rIns="108000" bIns="0" rtlCol="0" anchor="ctr">
            <a:noAutofit/>
          </a:bodyPr>
          <a:lstStyle>
            <a:defPPr>
              <a:defRPr lang="de-DE"/>
            </a:defPPr>
            <a:lvl1pPr algn="r">
              <a:defRPr sz="900"/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stausch mit 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novationsakteuren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intern/extern)</a:t>
            </a:r>
          </a:p>
        </p:txBody>
      </p:sp>
      <p:grpSp>
        <p:nvGrpSpPr>
          <p:cNvPr id="244" name="Grafik 34">
            <a:extLst>
              <a:ext uri="{FF2B5EF4-FFF2-40B4-BE49-F238E27FC236}">
                <a16:creationId xmlns:a16="http://schemas.microsoft.com/office/drawing/2014/main" id="{5576D36C-B4E7-4D62-B44F-EF0054C943BA}"/>
              </a:ext>
            </a:extLst>
          </p:cNvPr>
          <p:cNvGrpSpPr>
            <a:grpSpLocks noChangeAspect="1"/>
          </p:cNvGrpSpPr>
          <p:nvPr/>
        </p:nvGrpSpPr>
        <p:grpSpPr>
          <a:xfrm>
            <a:off x="5417889" y="3421355"/>
            <a:ext cx="243390" cy="252000"/>
            <a:chOff x="11289174" y="368479"/>
            <a:chExt cx="552146" cy="571672"/>
          </a:xfrm>
          <a:noFill/>
        </p:grpSpPr>
        <p:sp>
          <p:nvSpPr>
            <p:cNvPr id="245" name="Freihandform: Form 249">
              <a:extLst>
                <a:ext uri="{FF2B5EF4-FFF2-40B4-BE49-F238E27FC236}">
                  <a16:creationId xmlns:a16="http://schemas.microsoft.com/office/drawing/2014/main" id="{D7DC9412-6130-4270-A1BA-0E2274353128}"/>
                </a:ext>
              </a:extLst>
            </p:cNvPr>
            <p:cNvSpPr/>
            <p:nvPr/>
          </p:nvSpPr>
          <p:spPr>
            <a:xfrm>
              <a:off x="11289174" y="368479"/>
              <a:ext cx="552146" cy="571672"/>
            </a:xfrm>
            <a:custGeom>
              <a:avLst/>
              <a:gdLst>
                <a:gd name="connsiteX0" fmla="*/ 476250 w 552146"/>
                <a:gd name="connsiteY0" fmla="*/ 571672 h 571672"/>
                <a:gd name="connsiteX1" fmla="*/ 476250 w 552146"/>
                <a:gd name="connsiteY1" fmla="*/ 426892 h 571672"/>
                <a:gd name="connsiteX2" fmla="*/ 482918 w 552146"/>
                <a:gd name="connsiteY2" fmla="*/ 76372 h 571672"/>
                <a:gd name="connsiteX3" fmla="*/ 133350 w 552146"/>
                <a:gd name="connsiteY3" fmla="*/ 68752 h 571672"/>
                <a:gd name="connsiteX4" fmla="*/ 57150 w 552146"/>
                <a:gd name="connsiteY4" fmla="*/ 247822 h 571672"/>
                <a:gd name="connsiteX5" fmla="*/ 57150 w 552146"/>
                <a:gd name="connsiteY5" fmla="*/ 276397 h 571672"/>
                <a:gd name="connsiteX6" fmla="*/ 0 w 552146"/>
                <a:gd name="connsiteY6" fmla="*/ 381172 h 571672"/>
                <a:gd name="connsiteX7" fmla="*/ 57150 w 552146"/>
                <a:gd name="connsiteY7" fmla="*/ 409747 h 571672"/>
                <a:gd name="connsiteX8" fmla="*/ 57150 w 552146"/>
                <a:gd name="connsiteY8" fmla="*/ 514522 h 571672"/>
                <a:gd name="connsiteX9" fmla="*/ 114300 w 552146"/>
                <a:gd name="connsiteY9" fmla="*/ 571672 h 571672"/>
                <a:gd name="connsiteX10" fmla="*/ 238125 w 552146"/>
                <a:gd name="connsiteY10" fmla="*/ 571672 h 571672"/>
                <a:gd name="connsiteX11" fmla="*/ 371475 w 552146"/>
                <a:gd name="connsiteY11" fmla="*/ 438322 h 571672"/>
                <a:gd name="connsiteX12" fmla="*/ 371475 w 552146"/>
                <a:gd name="connsiteY12" fmla="*/ 295447 h 571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52146" h="571672">
                  <a:moveTo>
                    <a:pt x="476250" y="571672"/>
                  </a:moveTo>
                  <a:lnTo>
                    <a:pt x="476250" y="426892"/>
                  </a:lnTo>
                  <a:cubicBezTo>
                    <a:pt x="574358" y="331642"/>
                    <a:pt x="578168" y="175432"/>
                    <a:pt x="482918" y="76372"/>
                  </a:cubicBezTo>
                  <a:cubicBezTo>
                    <a:pt x="387668" y="-22688"/>
                    <a:pt x="231458" y="-25545"/>
                    <a:pt x="133350" y="68752"/>
                  </a:cubicBezTo>
                  <a:cubicBezTo>
                    <a:pt x="84773" y="115425"/>
                    <a:pt x="57150" y="180195"/>
                    <a:pt x="57150" y="247822"/>
                  </a:cubicBezTo>
                  <a:lnTo>
                    <a:pt x="57150" y="276397"/>
                  </a:lnTo>
                  <a:lnTo>
                    <a:pt x="0" y="381172"/>
                  </a:lnTo>
                  <a:lnTo>
                    <a:pt x="57150" y="409747"/>
                  </a:lnTo>
                  <a:lnTo>
                    <a:pt x="57150" y="514522"/>
                  </a:lnTo>
                  <a:cubicBezTo>
                    <a:pt x="57150" y="545955"/>
                    <a:pt x="82868" y="571672"/>
                    <a:pt x="114300" y="571672"/>
                  </a:cubicBezTo>
                  <a:lnTo>
                    <a:pt x="238125" y="571672"/>
                  </a:lnTo>
                  <a:cubicBezTo>
                    <a:pt x="311468" y="571672"/>
                    <a:pt x="371475" y="511665"/>
                    <a:pt x="371475" y="438322"/>
                  </a:cubicBezTo>
                  <a:lnTo>
                    <a:pt x="371475" y="295447"/>
                  </a:ln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" name="Freihandform: Form 250">
              <a:extLst>
                <a:ext uri="{FF2B5EF4-FFF2-40B4-BE49-F238E27FC236}">
                  <a16:creationId xmlns:a16="http://schemas.microsoft.com/office/drawing/2014/main" id="{98763819-672A-4DC9-A90D-C69D2D07E358}"/>
                </a:ext>
              </a:extLst>
            </p:cNvPr>
            <p:cNvSpPr/>
            <p:nvPr/>
          </p:nvSpPr>
          <p:spPr>
            <a:xfrm>
              <a:off x="11613025" y="568677"/>
              <a:ext cx="95250" cy="95250"/>
            </a:xfrm>
            <a:custGeom>
              <a:avLst/>
              <a:gdLst>
                <a:gd name="connsiteX0" fmla="*/ 95250 w 95250"/>
                <a:gd name="connsiteY0" fmla="*/ 47625 h 95250"/>
                <a:gd name="connsiteX1" fmla="*/ 47625 w 95250"/>
                <a:gd name="connsiteY1" fmla="*/ 95250 h 95250"/>
                <a:gd name="connsiteX2" fmla="*/ 0 w 95250"/>
                <a:gd name="connsiteY2" fmla="*/ 47625 h 95250"/>
                <a:gd name="connsiteX3" fmla="*/ 47625 w 95250"/>
                <a:gd name="connsiteY3" fmla="*/ 0 h 95250"/>
                <a:gd name="connsiteX4" fmla="*/ 95250 w 95250"/>
                <a:gd name="connsiteY4" fmla="*/ 47625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95250" y="47625"/>
                  </a:moveTo>
                  <a:cubicBezTo>
                    <a:pt x="95250" y="73928"/>
                    <a:pt x="73928" y="95250"/>
                    <a:pt x="47625" y="95250"/>
                  </a:cubicBezTo>
                  <a:cubicBezTo>
                    <a:pt x="21322" y="95250"/>
                    <a:pt x="0" y="73928"/>
                    <a:pt x="0" y="47625"/>
                  </a:cubicBezTo>
                  <a:cubicBezTo>
                    <a:pt x="0" y="21322"/>
                    <a:pt x="21322" y="0"/>
                    <a:pt x="47625" y="0"/>
                  </a:cubicBezTo>
                  <a:cubicBezTo>
                    <a:pt x="73928" y="0"/>
                    <a:pt x="95250" y="21322"/>
                    <a:pt x="95250" y="47625"/>
                  </a:cubicBez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" name="Freihandform: Form 251">
              <a:extLst>
                <a:ext uri="{FF2B5EF4-FFF2-40B4-BE49-F238E27FC236}">
                  <a16:creationId xmlns:a16="http://schemas.microsoft.com/office/drawing/2014/main" id="{B365077B-6FB6-4D33-A978-208FA019FD04}"/>
                </a:ext>
              </a:extLst>
            </p:cNvPr>
            <p:cNvSpPr/>
            <p:nvPr/>
          </p:nvSpPr>
          <p:spPr>
            <a:xfrm>
              <a:off x="11741612" y="535339"/>
              <a:ext cx="33575" cy="161925"/>
            </a:xfrm>
            <a:custGeom>
              <a:avLst/>
              <a:gdLst>
                <a:gd name="connsiteX0" fmla="*/ 0 w 33575"/>
                <a:gd name="connsiteY0" fmla="*/ 161925 h 161925"/>
                <a:gd name="connsiteX1" fmla="*/ 0 w 33575"/>
                <a:gd name="connsiteY1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575" h="161925">
                  <a:moveTo>
                    <a:pt x="0" y="161925"/>
                  </a:moveTo>
                  <a:cubicBezTo>
                    <a:pt x="44767" y="117157"/>
                    <a:pt x="44767" y="44768"/>
                    <a:pt x="0" y="0"/>
                  </a:cubicBez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" name="Freihandform: Form 252">
              <a:extLst>
                <a:ext uri="{FF2B5EF4-FFF2-40B4-BE49-F238E27FC236}">
                  <a16:creationId xmlns:a16="http://schemas.microsoft.com/office/drawing/2014/main" id="{9D76856E-39C5-4C42-A79E-6B3529E5E99D}"/>
                </a:ext>
              </a:extLst>
            </p:cNvPr>
            <p:cNvSpPr/>
            <p:nvPr/>
          </p:nvSpPr>
          <p:spPr>
            <a:xfrm>
              <a:off x="11546111" y="535339"/>
              <a:ext cx="33575" cy="161925"/>
            </a:xfrm>
            <a:custGeom>
              <a:avLst/>
              <a:gdLst>
                <a:gd name="connsiteX0" fmla="*/ 33576 w 33575"/>
                <a:gd name="connsiteY0" fmla="*/ 161925 h 161925"/>
                <a:gd name="connsiteX1" fmla="*/ 33576 w 33575"/>
                <a:gd name="connsiteY1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575" h="161925">
                  <a:moveTo>
                    <a:pt x="33576" y="161925"/>
                  </a:moveTo>
                  <a:cubicBezTo>
                    <a:pt x="-11192" y="117157"/>
                    <a:pt x="-11192" y="44768"/>
                    <a:pt x="33576" y="0"/>
                  </a:cubicBez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" name="Freihandform: Form 253">
              <a:extLst>
                <a:ext uri="{FF2B5EF4-FFF2-40B4-BE49-F238E27FC236}">
                  <a16:creationId xmlns:a16="http://schemas.microsoft.com/office/drawing/2014/main" id="{0910BB0F-345C-4E2A-B514-D227443EA7A1}"/>
                </a:ext>
              </a:extLst>
            </p:cNvPr>
            <p:cNvSpPr/>
            <p:nvPr/>
          </p:nvSpPr>
          <p:spPr>
            <a:xfrm>
              <a:off x="11393949" y="616302"/>
              <a:ext cx="54292" cy="28575"/>
            </a:xfrm>
            <a:custGeom>
              <a:avLst/>
              <a:gdLst>
                <a:gd name="connsiteX0" fmla="*/ 54293 w 54292"/>
                <a:gd name="connsiteY0" fmla="*/ 28575 h 28575"/>
                <a:gd name="connsiteX1" fmla="*/ 0 w 54292"/>
                <a:gd name="connsiteY1" fmla="*/ 0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292" h="28575">
                  <a:moveTo>
                    <a:pt x="54293" y="28575"/>
                  </a:moveTo>
                  <a:cubicBezTo>
                    <a:pt x="41910" y="10478"/>
                    <a:pt x="20955" y="0"/>
                    <a:pt x="0" y="0"/>
                  </a:cubicBez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50" name="Textfeld 249">
            <a:extLst>
              <a:ext uri="{FF2B5EF4-FFF2-40B4-BE49-F238E27FC236}">
                <a16:creationId xmlns:a16="http://schemas.microsoft.com/office/drawing/2014/main" id="{DCD71C97-17CB-4244-980C-19B0A1449442}"/>
              </a:ext>
            </a:extLst>
          </p:cNvPr>
          <p:cNvSpPr txBox="1"/>
          <p:nvPr/>
        </p:nvSpPr>
        <p:spPr>
          <a:xfrm>
            <a:off x="6009805" y="3267459"/>
            <a:ext cx="1936240" cy="636359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novatives </a:t>
            </a: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dset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ördern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reativität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„Out-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box“-Denken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genverantwortliches Agieren</a:t>
            </a:r>
          </a:p>
        </p:txBody>
      </p:sp>
      <p:grpSp>
        <p:nvGrpSpPr>
          <p:cNvPr id="251" name="Grafik 4">
            <a:extLst>
              <a:ext uri="{FF2B5EF4-FFF2-40B4-BE49-F238E27FC236}">
                <a16:creationId xmlns:a16="http://schemas.microsoft.com/office/drawing/2014/main" id="{49BEFFE0-C3C2-43D6-940E-C63CEC2CECE1}"/>
              </a:ext>
            </a:extLst>
          </p:cNvPr>
          <p:cNvGrpSpPr>
            <a:grpSpLocks noChangeAspect="1"/>
          </p:cNvGrpSpPr>
          <p:nvPr/>
        </p:nvGrpSpPr>
        <p:grpSpPr>
          <a:xfrm>
            <a:off x="4395959" y="2547545"/>
            <a:ext cx="415542" cy="415542"/>
            <a:chOff x="656359" y="413905"/>
            <a:chExt cx="571500" cy="571500"/>
          </a:xfrm>
          <a:noFill/>
        </p:grpSpPr>
        <p:sp>
          <p:nvSpPr>
            <p:cNvPr id="252" name="Freihandform: Form 2">
              <a:extLst>
                <a:ext uri="{FF2B5EF4-FFF2-40B4-BE49-F238E27FC236}">
                  <a16:creationId xmlns:a16="http://schemas.microsoft.com/office/drawing/2014/main" id="{D99EB44F-A9A0-421E-AFD4-4F354D2A69BE}"/>
                </a:ext>
              </a:extLst>
            </p:cNvPr>
            <p:cNvSpPr/>
            <p:nvPr/>
          </p:nvSpPr>
          <p:spPr>
            <a:xfrm>
              <a:off x="942109" y="833005"/>
              <a:ext cx="9525" cy="76200"/>
            </a:xfrm>
            <a:custGeom>
              <a:avLst/>
              <a:gdLst>
                <a:gd name="connsiteX0" fmla="*/ 0 w 9525"/>
                <a:gd name="connsiteY0" fmla="*/ 76200 h 76200"/>
                <a:gd name="connsiteX1" fmla="*/ 0 w 9525"/>
                <a:gd name="connsiteY1" fmla="*/ 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6200">
                  <a:moveTo>
                    <a:pt x="0" y="76200"/>
                  </a:moveTo>
                  <a:lnTo>
                    <a:pt x="0" y="0"/>
                  </a:lnTo>
                </a:path>
              </a:pathLst>
            </a:custGeom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" name="Freihandform: Form 23">
              <a:extLst>
                <a:ext uri="{FF2B5EF4-FFF2-40B4-BE49-F238E27FC236}">
                  <a16:creationId xmlns:a16="http://schemas.microsoft.com/office/drawing/2014/main" id="{C95E6F43-8A04-4155-A3E9-FCB1466B672D}"/>
                </a:ext>
              </a:extLst>
            </p:cNvPr>
            <p:cNvSpPr/>
            <p:nvPr/>
          </p:nvSpPr>
          <p:spPr>
            <a:xfrm>
              <a:off x="1113559" y="709180"/>
              <a:ext cx="49530" cy="87630"/>
            </a:xfrm>
            <a:custGeom>
              <a:avLst/>
              <a:gdLst>
                <a:gd name="connsiteX0" fmla="*/ 0 w 49530"/>
                <a:gd name="connsiteY0" fmla="*/ 0 h 87630"/>
                <a:gd name="connsiteX1" fmla="*/ 0 w 49530"/>
                <a:gd name="connsiteY1" fmla="*/ 38100 h 87630"/>
                <a:gd name="connsiteX2" fmla="*/ 49530 w 49530"/>
                <a:gd name="connsiteY2" fmla="*/ 87630 h 87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530" h="87630">
                  <a:moveTo>
                    <a:pt x="0" y="0"/>
                  </a:moveTo>
                  <a:lnTo>
                    <a:pt x="0" y="38100"/>
                  </a:lnTo>
                  <a:lnTo>
                    <a:pt x="49530" y="87630"/>
                  </a:ln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" name="Freihandform: Form 24">
              <a:extLst>
                <a:ext uri="{FF2B5EF4-FFF2-40B4-BE49-F238E27FC236}">
                  <a16:creationId xmlns:a16="http://schemas.microsoft.com/office/drawing/2014/main" id="{40802CD3-0B09-48A6-BE98-D63683C5E911}"/>
                </a:ext>
              </a:extLst>
            </p:cNvPr>
            <p:cNvSpPr/>
            <p:nvPr/>
          </p:nvSpPr>
          <p:spPr>
            <a:xfrm>
              <a:off x="1151659" y="785380"/>
              <a:ext cx="76200" cy="76200"/>
            </a:xfrm>
            <a:custGeom>
              <a:avLst/>
              <a:gdLst>
                <a:gd name="connsiteX0" fmla="*/ 76200 w 76200"/>
                <a:gd name="connsiteY0" fmla="*/ 38100 h 76200"/>
                <a:gd name="connsiteX1" fmla="*/ 38100 w 76200"/>
                <a:gd name="connsiteY1" fmla="*/ 76200 h 76200"/>
                <a:gd name="connsiteX2" fmla="*/ 0 w 76200"/>
                <a:gd name="connsiteY2" fmla="*/ 38100 h 76200"/>
                <a:gd name="connsiteX3" fmla="*/ 38100 w 76200"/>
                <a:gd name="connsiteY3" fmla="*/ 0 h 76200"/>
                <a:gd name="connsiteX4" fmla="*/ 76200 w 76200"/>
                <a:gd name="connsiteY4" fmla="*/ 381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6200" y="38100"/>
                  </a:moveTo>
                  <a:cubicBezTo>
                    <a:pt x="76200" y="59142"/>
                    <a:pt x="59142" y="76200"/>
                    <a:pt x="38100" y="76200"/>
                  </a:cubicBezTo>
                  <a:cubicBezTo>
                    <a:pt x="17058" y="76200"/>
                    <a:pt x="0" y="59142"/>
                    <a:pt x="0" y="38100"/>
                  </a:cubicBezTo>
                  <a:cubicBezTo>
                    <a:pt x="0" y="17058"/>
                    <a:pt x="17058" y="0"/>
                    <a:pt x="38100" y="0"/>
                  </a:cubicBezTo>
                  <a:cubicBezTo>
                    <a:pt x="59142" y="0"/>
                    <a:pt x="76200" y="17058"/>
                    <a:pt x="76200" y="38100"/>
                  </a:cubicBez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" name="Freihandform: Form 33">
              <a:extLst>
                <a:ext uri="{FF2B5EF4-FFF2-40B4-BE49-F238E27FC236}">
                  <a16:creationId xmlns:a16="http://schemas.microsoft.com/office/drawing/2014/main" id="{D1C6628D-3913-4D94-A5C8-414C7912CC67}"/>
                </a:ext>
              </a:extLst>
            </p:cNvPr>
            <p:cNvSpPr/>
            <p:nvPr/>
          </p:nvSpPr>
          <p:spPr>
            <a:xfrm>
              <a:off x="721129" y="709180"/>
              <a:ext cx="49529" cy="87630"/>
            </a:xfrm>
            <a:custGeom>
              <a:avLst/>
              <a:gdLst>
                <a:gd name="connsiteX0" fmla="*/ 49530 w 49529"/>
                <a:gd name="connsiteY0" fmla="*/ 0 h 87630"/>
                <a:gd name="connsiteX1" fmla="*/ 49530 w 49529"/>
                <a:gd name="connsiteY1" fmla="*/ 38100 h 87630"/>
                <a:gd name="connsiteX2" fmla="*/ 0 w 49529"/>
                <a:gd name="connsiteY2" fmla="*/ 87630 h 87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529" h="87630">
                  <a:moveTo>
                    <a:pt x="49530" y="0"/>
                  </a:moveTo>
                  <a:lnTo>
                    <a:pt x="49530" y="38100"/>
                  </a:lnTo>
                  <a:lnTo>
                    <a:pt x="0" y="87630"/>
                  </a:ln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" name="Freihandform: Form 40">
              <a:extLst>
                <a:ext uri="{FF2B5EF4-FFF2-40B4-BE49-F238E27FC236}">
                  <a16:creationId xmlns:a16="http://schemas.microsoft.com/office/drawing/2014/main" id="{E7ED8E86-C94E-43C2-9EEF-A0E9E6EF0D8D}"/>
                </a:ext>
              </a:extLst>
            </p:cNvPr>
            <p:cNvSpPr/>
            <p:nvPr/>
          </p:nvSpPr>
          <p:spPr>
            <a:xfrm>
              <a:off x="656359" y="785380"/>
              <a:ext cx="76200" cy="76200"/>
            </a:xfrm>
            <a:custGeom>
              <a:avLst/>
              <a:gdLst>
                <a:gd name="connsiteX0" fmla="*/ 76200 w 76200"/>
                <a:gd name="connsiteY0" fmla="*/ 38100 h 76200"/>
                <a:gd name="connsiteX1" fmla="*/ 38100 w 76200"/>
                <a:gd name="connsiteY1" fmla="*/ 76200 h 76200"/>
                <a:gd name="connsiteX2" fmla="*/ 0 w 76200"/>
                <a:gd name="connsiteY2" fmla="*/ 38100 h 76200"/>
                <a:gd name="connsiteX3" fmla="*/ 38100 w 76200"/>
                <a:gd name="connsiteY3" fmla="*/ 0 h 76200"/>
                <a:gd name="connsiteX4" fmla="*/ 76200 w 76200"/>
                <a:gd name="connsiteY4" fmla="*/ 381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6200" y="38100"/>
                  </a:moveTo>
                  <a:cubicBezTo>
                    <a:pt x="76200" y="59142"/>
                    <a:pt x="59142" y="76200"/>
                    <a:pt x="38100" y="76200"/>
                  </a:cubicBezTo>
                  <a:cubicBezTo>
                    <a:pt x="17058" y="76200"/>
                    <a:pt x="0" y="59142"/>
                    <a:pt x="0" y="38100"/>
                  </a:cubicBezTo>
                  <a:cubicBezTo>
                    <a:pt x="0" y="17058"/>
                    <a:pt x="17058" y="0"/>
                    <a:pt x="38100" y="0"/>
                  </a:cubicBezTo>
                  <a:cubicBezTo>
                    <a:pt x="59142" y="0"/>
                    <a:pt x="76200" y="17058"/>
                    <a:pt x="76200" y="38100"/>
                  </a:cubicBez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" name="Freihandform: Form 41">
              <a:extLst>
                <a:ext uri="{FF2B5EF4-FFF2-40B4-BE49-F238E27FC236}">
                  <a16:creationId xmlns:a16="http://schemas.microsoft.com/office/drawing/2014/main" id="{CC74CD47-490D-4C24-A657-920EB328D4D5}"/>
                </a:ext>
              </a:extLst>
            </p:cNvPr>
            <p:cNvSpPr/>
            <p:nvPr/>
          </p:nvSpPr>
          <p:spPr>
            <a:xfrm>
              <a:off x="799234" y="794905"/>
              <a:ext cx="38100" cy="95250"/>
            </a:xfrm>
            <a:custGeom>
              <a:avLst/>
              <a:gdLst>
                <a:gd name="connsiteX0" fmla="*/ 0 w 38100"/>
                <a:gd name="connsiteY0" fmla="*/ 95250 h 95250"/>
                <a:gd name="connsiteX1" fmla="*/ 0 w 38100"/>
                <a:gd name="connsiteY1" fmla="*/ 57150 h 95250"/>
                <a:gd name="connsiteX2" fmla="*/ 38100 w 38100"/>
                <a:gd name="connsiteY2" fmla="*/ 19050 h 95250"/>
                <a:gd name="connsiteX3" fmla="*/ 38100 w 38100"/>
                <a:gd name="connsiteY3" fmla="*/ 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95250">
                  <a:moveTo>
                    <a:pt x="0" y="95250"/>
                  </a:moveTo>
                  <a:lnTo>
                    <a:pt x="0" y="57150"/>
                  </a:lnTo>
                  <a:lnTo>
                    <a:pt x="38100" y="19050"/>
                  </a:lnTo>
                  <a:lnTo>
                    <a:pt x="38100" y="0"/>
                  </a:ln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" name="Freihandform: Form 42">
              <a:extLst>
                <a:ext uri="{FF2B5EF4-FFF2-40B4-BE49-F238E27FC236}">
                  <a16:creationId xmlns:a16="http://schemas.microsoft.com/office/drawing/2014/main" id="{8F2EBEE4-8D6E-4D30-BE0F-EB822194C1D1}"/>
                </a:ext>
              </a:extLst>
            </p:cNvPr>
            <p:cNvSpPr/>
            <p:nvPr/>
          </p:nvSpPr>
          <p:spPr>
            <a:xfrm>
              <a:off x="761134" y="890155"/>
              <a:ext cx="76200" cy="76200"/>
            </a:xfrm>
            <a:custGeom>
              <a:avLst/>
              <a:gdLst>
                <a:gd name="connsiteX0" fmla="*/ 76200 w 76200"/>
                <a:gd name="connsiteY0" fmla="*/ 38100 h 76200"/>
                <a:gd name="connsiteX1" fmla="*/ 38100 w 76200"/>
                <a:gd name="connsiteY1" fmla="*/ 76200 h 76200"/>
                <a:gd name="connsiteX2" fmla="*/ 0 w 76200"/>
                <a:gd name="connsiteY2" fmla="*/ 38100 h 76200"/>
                <a:gd name="connsiteX3" fmla="*/ 38100 w 76200"/>
                <a:gd name="connsiteY3" fmla="*/ 0 h 76200"/>
                <a:gd name="connsiteX4" fmla="*/ 76200 w 76200"/>
                <a:gd name="connsiteY4" fmla="*/ 381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6200" y="38100"/>
                  </a:moveTo>
                  <a:cubicBezTo>
                    <a:pt x="76200" y="59142"/>
                    <a:pt x="59142" y="76200"/>
                    <a:pt x="38100" y="76200"/>
                  </a:cubicBezTo>
                  <a:cubicBezTo>
                    <a:pt x="17058" y="76200"/>
                    <a:pt x="0" y="59142"/>
                    <a:pt x="0" y="38100"/>
                  </a:cubicBezTo>
                  <a:cubicBezTo>
                    <a:pt x="0" y="17058"/>
                    <a:pt x="17058" y="0"/>
                    <a:pt x="38100" y="0"/>
                  </a:cubicBezTo>
                  <a:cubicBezTo>
                    <a:pt x="59142" y="0"/>
                    <a:pt x="76200" y="17058"/>
                    <a:pt x="76200" y="38100"/>
                  </a:cubicBez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9" name="Freihandform: Form 43">
              <a:extLst>
                <a:ext uri="{FF2B5EF4-FFF2-40B4-BE49-F238E27FC236}">
                  <a16:creationId xmlns:a16="http://schemas.microsoft.com/office/drawing/2014/main" id="{2CB6617A-6BC3-485F-919E-FC67AC575267}"/>
                </a:ext>
              </a:extLst>
            </p:cNvPr>
            <p:cNvSpPr/>
            <p:nvPr/>
          </p:nvSpPr>
          <p:spPr>
            <a:xfrm>
              <a:off x="1046884" y="794905"/>
              <a:ext cx="38100" cy="95250"/>
            </a:xfrm>
            <a:custGeom>
              <a:avLst/>
              <a:gdLst>
                <a:gd name="connsiteX0" fmla="*/ 38100 w 38100"/>
                <a:gd name="connsiteY0" fmla="*/ 95250 h 95250"/>
                <a:gd name="connsiteX1" fmla="*/ 38100 w 38100"/>
                <a:gd name="connsiteY1" fmla="*/ 57150 h 95250"/>
                <a:gd name="connsiteX2" fmla="*/ 0 w 38100"/>
                <a:gd name="connsiteY2" fmla="*/ 19050 h 95250"/>
                <a:gd name="connsiteX3" fmla="*/ 0 w 38100"/>
                <a:gd name="connsiteY3" fmla="*/ 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95250">
                  <a:moveTo>
                    <a:pt x="38100" y="95250"/>
                  </a:moveTo>
                  <a:lnTo>
                    <a:pt x="38100" y="57150"/>
                  </a:lnTo>
                  <a:lnTo>
                    <a:pt x="0" y="19050"/>
                  </a:lnTo>
                  <a:lnTo>
                    <a:pt x="0" y="0"/>
                  </a:ln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0" name="Freihandform: Form 44">
              <a:extLst>
                <a:ext uri="{FF2B5EF4-FFF2-40B4-BE49-F238E27FC236}">
                  <a16:creationId xmlns:a16="http://schemas.microsoft.com/office/drawing/2014/main" id="{882BC9C6-56BF-47AB-BE04-852438E16BE5}"/>
                </a:ext>
              </a:extLst>
            </p:cNvPr>
            <p:cNvSpPr/>
            <p:nvPr/>
          </p:nvSpPr>
          <p:spPr>
            <a:xfrm>
              <a:off x="1046884" y="890155"/>
              <a:ext cx="76200" cy="76200"/>
            </a:xfrm>
            <a:custGeom>
              <a:avLst/>
              <a:gdLst>
                <a:gd name="connsiteX0" fmla="*/ 76200 w 76200"/>
                <a:gd name="connsiteY0" fmla="*/ 38100 h 76200"/>
                <a:gd name="connsiteX1" fmla="*/ 38100 w 76200"/>
                <a:gd name="connsiteY1" fmla="*/ 76200 h 76200"/>
                <a:gd name="connsiteX2" fmla="*/ 0 w 76200"/>
                <a:gd name="connsiteY2" fmla="*/ 38100 h 76200"/>
                <a:gd name="connsiteX3" fmla="*/ 38100 w 76200"/>
                <a:gd name="connsiteY3" fmla="*/ 0 h 76200"/>
                <a:gd name="connsiteX4" fmla="*/ 76200 w 76200"/>
                <a:gd name="connsiteY4" fmla="*/ 381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6200" y="38100"/>
                  </a:moveTo>
                  <a:cubicBezTo>
                    <a:pt x="76200" y="59142"/>
                    <a:pt x="59142" y="76200"/>
                    <a:pt x="38100" y="76200"/>
                  </a:cubicBezTo>
                  <a:cubicBezTo>
                    <a:pt x="17058" y="76200"/>
                    <a:pt x="0" y="59142"/>
                    <a:pt x="0" y="38100"/>
                  </a:cubicBezTo>
                  <a:cubicBezTo>
                    <a:pt x="0" y="17058"/>
                    <a:pt x="17058" y="0"/>
                    <a:pt x="38100" y="0"/>
                  </a:cubicBezTo>
                  <a:cubicBezTo>
                    <a:pt x="59142" y="0"/>
                    <a:pt x="76200" y="17058"/>
                    <a:pt x="76200" y="38100"/>
                  </a:cubicBez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1" name="Freihandform: Form 45">
              <a:extLst>
                <a:ext uri="{FF2B5EF4-FFF2-40B4-BE49-F238E27FC236}">
                  <a16:creationId xmlns:a16="http://schemas.microsoft.com/office/drawing/2014/main" id="{6B67187B-3D5E-475E-8AE2-B50CCB0264EB}"/>
                </a:ext>
              </a:extLst>
            </p:cNvPr>
            <p:cNvSpPr/>
            <p:nvPr/>
          </p:nvSpPr>
          <p:spPr>
            <a:xfrm>
              <a:off x="904009" y="909205"/>
              <a:ext cx="76200" cy="76200"/>
            </a:xfrm>
            <a:custGeom>
              <a:avLst/>
              <a:gdLst>
                <a:gd name="connsiteX0" fmla="*/ 76200 w 76200"/>
                <a:gd name="connsiteY0" fmla="*/ 38100 h 76200"/>
                <a:gd name="connsiteX1" fmla="*/ 38100 w 76200"/>
                <a:gd name="connsiteY1" fmla="*/ 76200 h 76200"/>
                <a:gd name="connsiteX2" fmla="*/ 0 w 76200"/>
                <a:gd name="connsiteY2" fmla="*/ 38100 h 76200"/>
                <a:gd name="connsiteX3" fmla="*/ 38100 w 76200"/>
                <a:gd name="connsiteY3" fmla="*/ 0 h 76200"/>
                <a:gd name="connsiteX4" fmla="*/ 76200 w 76200"/>
                <a:gd name="connsiteY4" fmla="*/ 381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6200" y="38100"/>
                  </a:moveTo>
                  <a:cubicBezTo>
                    <a:pt x="76200" y="59142"/>
                    <a:pt x="59142" y="76200"/>
                    <a:pt x="38100" y="76200"/>
                  </a:cubicBezTo>
                  <a:cubicBezTo>
                    <a:pt x="17058" y="76200"/>
                    <a:pt x="0" y="59142"/>
                    <a:pt x="0" y="38100"/>
                  </a:cubicBezTo>
                  <a:cubicBezTo>
                    <a:pt x="0" y="17058"/>
                    <a:pt x="17058" y="0"/>
                    <a:pt x="38100" y="0"/>
                  </a:cubicBezTo>
                  <a:cubicBezTo>
                    <a:pt x="59142" y="0"/>
                    <a:pt x="76200" y="17058"/>
                    <a:pt x="76200" y="38100"/>
                  </a:cubicBez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2" name="Freihandform: Form 46">
              <a:extLst>
                <a:ext uri="{FF2B5EF4-FFF2-40B4-BE49-F238E27FC236}">
                  <a16:creationId xmlns:a16="http://schemas.microsoft.com/office/drawing/2014/main" id="{2005B34A-8B1C-4EB5-9FEC-F29FFED97A6A}"/>
                </a:ext>
              </a:extLst>
            </p:cNvPr>
            <p:cNvSpPr/>
            <p:nvPr/>
          </p:nvSpPr>
          <p:spPr>
            <a:xfrm>
              <a:off x="865909" y="623455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3" name="Freihandform: Form 47">
              <a:extLst>
                <a:ext uri="{FF2B5EF4-FFF2-40B4-BE49-F238E27FC236}">
                  <a16:creationId xmlns:a16="http://schemas.microsoft.com/office/drawing/2014/main" id="{9ABF75FF-8A01-4EF8-8CA5-24D59FFEA7E3}"/>
                </a:ext>
              </a:extLst>
            </p:cNvPr>
            <p:cNvSpPr/>
            <p:nvPr/>
          </p:nvSpPr>
          <p:spPr>
            <a:xfrm>
              <a:off x="656359" y="413905"/>
              <a:ext cx="571500" cy="304800"/>
            </a:xfrm>
            <a:custGeom>
              <a:avLst/>
              <a:gdLst>
                <a:gd name="connsiteX0" fmla="*/ 571500 w 571500"/>
                <a:gd name="connsiteY0" fmla="*/ 304800 h 304800"/>
                <a:gd name="connsiteX1" fmla="*/ 571500 w 571500"/>
                <a:gd name="connsiteY1" fmla="*/ 247650 h 304800"/>
                <a:gd name="connsiteX2" fmla="*/ 489585 w 571500"/>
                <a:gd name="connsiteY2" fmla="*/ 237173 h 304800"/>
                <a:gd name="connsiteX3" fmla="*/ 463868 w 571500"/>
                <a:gd name="connsiteY3" fmla="*/ 175260 h 304800"/>
                <a:gd name="connsiteX4" fmla="*/ 514350 w 571500"/>
                <a:gd name="connsiteY4" fmla="*/ 109538 h 304800"/>
                <a:gd name="connsiteX5" fmla="*/ 461010 w 571500"/>
                <a:gd name="connsiteY5" fmla="*/ 57150 h 304800"/>
                <a:gd name="connsiteX6" fmla="*/ 395288 w 571500"/>
                <a:gd name="connsiteY6" fmla="*/ 107633 h 304800"/>
                <a:gd name="connsiteX7" fmla="*/ 333375 w 571500"/>
                <a:gd name="connsiteY7" fmla="*/ 81915 h 304800"/>
                <a:gd name="connsiteX8" fmla="*/ 323850 w 571500"/>
                <a:gd name="connsiteY8" fmla="*/ 0 h 304800"/>
                <a:gd name="connsiteX9" fmla="*/ 247650 w 571500"/>
                <a:gd name="connsiteY9" fmla="*/ 0 h 304800"/>
                <a:gd name="connsiteX10" fmla="*/ 237173 w 571500"/>
                <a:gd name="connsiteY10" fmla="*/ 81915 h 304800"/>
                <a:gd name="connsiteX11" fmla="*/ 175260 w 571500"/>
                <a:gd name="connsiteY11" fmla="*/ 107633 h 304800"/>
                <a:gd name="connsiteX12" fmla="*/ 110490 w 571500"/>
                <a:gd name="connsiteY12" fmla="*/ 57150 h 304800"/>
                <a:gd name="connsiteX13" fmla="*/ 57150 w 571500"/>
                <a:gd name="connsiteY13" fmla="*/ 110490 h 304800"/>
                <a:gd name="connsiteX14" fmla="*/ 107633 w 571500"/>
                <a:gd name="connsiteY14" fmla="*/ 176213 h 304800"/>
                <a:gd name="connsiteX15" fmla="*/ 81915 w 571500"/>
                <a:gd name="connsiteY15" fmla="*/ 238125 h 304800"/>
                <a:gd name="connsiteX16" fmla="*/ 0 w 571500"/>
                <a:gd name="connsiteY16" fmla="*/ 247650 h 304800"/>
                <a:gd name="connsiteX17" fmla="*/ 0 w 571500"/>
                <a:gd name="connsiteY17" fmla="*/ 30480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71500" h="304800">
                  <a:moveTo>
                    <a:pt x="571500" y="304800"/>
                  </a:moveTo>
                  <a:lnTo>
                    <a:pt x="571500" y="247650"/>
                  </a:lnTo>
                  <a:lnTo>
                    <a:pt x="489585" y="237173"/>
                  </a:lnTo>
                  <a:cubicBezTo>
                    <a:pt x="484823" y="215265"/>
                    <a:pt x="476250" y="194310"/>
                    <a:pt x="463868" y="175260"/>
                  </a:cubicBezTo>
                  <a:lnTo>
                    <a:pt x="514350" y="109538"/>
                  </a:lnTo>
                  <a:lnTo>
                    <a:pt x="461010" y="57150"/>
                  </a:lnTo>
                  <a:lnTo>
                    <a:pt x="395288" y="107633"/>
                  </a:lnTo>
                  <a:cubicBezTo>
                    <a:pt x="376238" y="96203"/>
                    <a:pt x="355283" y="87630"/>
                    <a:pt x="333375" y="81915"/>
                  </a:cubicBezTo>
                  <a:lnTo>
                    <a:pt x="323850" y="0"/>
                  </a:lnTo>
                  <a:lnTo>
                    <a:pt x="247650" y="0"/>
                  </a:lnTo>
                  <a:lnTo>
                    <a:pt x="237173" y="81915"/>
                  </a:lnTo>
                  <a:cubicBezTo>
                    <a:pt x="215265" y="86678"/>
                    <a:pt x="194310" y="95250"/>
                    <a:pt x="175260" y="107633"/>
                  </a:cubicBezTo>
                  <a:lnTo>
                    <a:pt x="110490" y="57150"/>
                  </a:lnTo>
                  <a:lnTo>
                    <a:pt x="57150" y="110490"/>
                  </a:lnTo>
                  <a:lnTo>
                    <a:pt x="107633" y="176213"/>
                  </a:lnTo>
                  <a:cubicBezTo>
                    <a:pt x="96203" y="195263"/>
                    <a:pt x="87630" y="216218"/>
                    <a:pt x="81915" y="238125"/>
                  </a:cubicBezTo>
                  <a:lnTo>
                    <a:pt x="0" y="247650"/>
                  </a:lnTo>
                  <a:lnTo>
                    <a:pt x="0" y="304800"/>
                  </a:ln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64" name="Gruppieren 263">
            <a:extLst>
              <a:ext uri="{FF2B5EF4-FFF2-40B4-BE49-F238E27FC236}">
                <a16:creationId xmlns:a16="http://schemas.microsoft.com/office/drawing/2014/main" id="{43A8E942-BC2D-431B-8DD0-5E069473D4DD}"/>
              </a:ext>
            </a:extLst>
          </p:cNvPr>
          <p:cNvGrpSpPr>
            <a:grpSpLocks noChangeAspect="1"/>
          </p:cNvGrpSpPr>
          <p:nvPr/>
        </p:nvGrpSpPr>
        <p:grpSpPr>
          <a:xfrm>
            <a:off x="3572388" y="1846885"/>
            <a:ext cx="252000" cy="252000"/>
            <a:chOff x="6388677" y="2484712"/>
            <a:chExt cx="571500" cy="581025"/>
          </a:xfrm>
        </p:grpSpPr>
        <p:sp>
          <p:nvSpPr>
            <p:cNvPr id="265" name="Freihandform: Form 295">
              <a:extLst>
                <a:ext uri="{FF2B5EF4-FFF2-40B4-BE49-F238E27FC236}">
                  <a16:creationId xmlns:a16="http://schemas.microsoft.com/office/drawing/2014/main" id="{39111121-197F-423D-8F4A-DE6D47B68A8A}"/>
                </a:ext>
              </a:extLst>
            </p:cNvPr>
            <p:cNvSpPr/>
            <p:nvPr/>
          </p:nvSpPr>
          <p:spPr>
            <a:xfrm>
              <a:off x="6388677" y="2770462"/>
              <a:ext cx="57150" cy="9525"/>
            </a:xfrm>
            <a:custGeom>
              <a:avLst/>
              <a:gdLst>
                <a:gd name="connsiteX0" fmla="*/ 0 w 57150"/>
                <a:gd name="connsiteY0" fmla="*/ 0 h 9525"/>
                <a:gd name="connsiteX1" fmla="*/ 57150 w 5715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150" h="9525">
                  <a:moveTo>
                    <a:pt x="0" y="0"/>
                  </a:moveTo>
                  <a:lnTo>
                    <a:pt x="57150" y="0"/>
                  </a:lnTo>
                </a:path>
              </a:pathLst>
            </a:custGeom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6" name="Freihandform: Form 296">
              <a:extLst>
                <a:ext uri="{FF2B5EF4-FFF2-40B4-BE49-F238E27FC236}">
                  <a16:creationId xmlns:a16="http://schemas.microsoft.com/office/drawing/2014/main" id="{AAC00BCB-CDC5-4988-A8E8-218814201725}"/>
                </a:ext>
              </a:extLst>
            </p:cNvPr>
            <p:cNvSpPr/>
            <p:nvPr/>
          </p:nvSpPr>
          <p:spPr>
            <a:xfrm>
              <a:off x="6472497" y="2568532"/>
              <a:ext cx="40004" cy="40004"/>
            </a:xfrm>
            <a:custGeom>
              <a:avLst/>
              <a:gdLst>
                <a:gd name="connsiteX0" fmla="*/ 0 w 40004"/>
                <a:gd name="connsiteY0" fmla="*/ 0 h 40004"/>
                <a:gd name="connsiteX1" fmla="*/ 40005 w 40004"/>
                <a:gd name="connsiteY1" fmla="*/ 40005 h 40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004" h="40004">
                  <a:moveTo>
                    <a:pt x="0" y="0"/>
                  </a:moveTo>
                  <a:lnTo>
                    <a:pt x="40005" y="40005"/>
                  </a:lnTo>
                </a:path>
              </a:pathLst>
            </a:custGeom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7" name="Freihandform: Form 297">
              <a:extLst>
                <a:ext uri="{FF2B5EF4-FFF2-40B4-BE49-F238E27FC236}">
                  <a16:creationId xmlns:a16="http://schemas.microsoft.com/office/drawing/2014/main" id="{8584BFC1-8079-444E-9DDE-9AA8D2FF2AB8}"/>
                </a:ext>
              </a:extLst>
            </p:cNvPr>
            <p:cNvSpPr/>
            <p:nvPr/>
          </p:nvSpPr>
          <p:spPr>
            <a:xfrm>
              <a:off x="6674427" y="2484712"/>
              <a:ext cx="9525" cy="57150"/>
            </a:xfrm>
            <a:custGeom>
              <a:avLst/>
              <a:gdLst>
                <a:gd name="connsiteX0" fmla="*/ 0 w 9525"/>
                <a:gd name="connsiteY0" fmla="*/ 0 h 57150"/>
                <a:gd name="connsiteX1" fmla="*/ 0 w 9525"/>
                <a:gd name="connsiteY1" fmla="*/ 5715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7150">
                  <a:moveTo>
                    <a:pt x="0" y="0"/>
                  </a:moveTo>
                  <a:lnTo>
                    <a:pt x="0" y="57150"/>
                  </a:lnTo>
                </a:path>
              </a:pathLst>
            </a:custGeom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" name="Freihandform: Form 298">
              <a:extLst>
                <a:ext uri="{FF2B5EF4-FFF2-40B4-BE49-F238E27FC236}">
                  <a16:creationId xmlns:a16="http://schemas.microsoft.com/office/drawing/2014/main" id="{532571F3-F9C8-4367-8F0E-AA62E62DA067}"/>
                </a:ext>
              </a:extLst>
            </p:cNvPr>
            <p:cNvSpPr/>
            <p:nvPr/>
          </p:nvSpPr>
          <p:spPr>
            <a:xfrm>
              <a:off x="6836352" y="2568532"/>
              <a:ext cx="40005" cy="40004"/>
            </a:xfrm>
            <a:custGeom>
              <a:avLst/>
              <a:gdLst>
                <a:gd name="connsiteX0" fmla="*/ 40005 w 40005"/>
                <a:gd name="connsiteY0" fmla="*/ 0 h 40004"/>
                <a:gd name="connsiteX1" fmla="*/ 0 w 40005"/>
                <a:gd name="connsiteY1" fmla="*/ 40005 h 40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005" h="40004">
                  <a:moveTo>
                    <a:pt x="40005" y="0"/>
                  </a:moveTo>
                  <a:lnTo>
                    <a:pt x="0" y="40005"/>
                  </a:lnTo>
                </a:path>
              </a:pathLst>
            </a:custGeom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" name="Freihandform: Form 299">
              <a:extLst>
                <a:ext uri="{FF2B5EF4-FFF2-40B4-BE49-F238E27FC236}">
                  <a16:creationId xmlns:a16="http://schemas.microsoft.com/office/drawing/2014/main" id="{E621329C-BC70-4145-9269-3B9127293B00}"/>
                </a:ext>
              </a:extLst>
            </p:cNvPr>
            <p:cNvSpPr/>
            <p:nvPr/>
          </p:nvSpPr>
          <p:spPr>
            <a:xfrm>
              <a:off x="6903027" y="2770462"/>
              <a:ext cx="57150" cy="9525"/>
            </a:xfrm>
            <a:custGeom>
              <a:avLst/>
              <a:gdLst>
                <a:gd name="connsiteX0" fmla="*/ 57150 w 57150"/>
                <a:gd name="connsiteY0" fmla="*/ 0 h 9525"/>
                <a:gd name="connsiteX1" fmla="*/ 0 w 5715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150" h="9525">
                  <a:moveTo>
                    <a:pt x="57150" y="0"/>
                  </a:moveTo>
                  <a:lnTo>
                    <a:pt x="0" y="0"/>
                  </a:lnTo>
                </a:path>
              </a:pathLst>
            </a:custGeom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0" name="Freihandform: Form 300">
              <a:extLst>
                <a:ext uri="{FF2B5EF4-FFF2-40B4-BE49-F238E27FC236}">
                  <a16:creationId xmlns:a16="http://schemas.microsoft.com/office/drawing/2014/main" id="{F66F1CF6-7554-4B77-B11F-909DB78A4421}"/>
                </a:ext>
              </a:extLst>
            </p:cNvPr>
            <p:cNvSpPr/>
            <p:nvPr/>
          </p:nvSpPr>
          <p:spPr>
            <a:xfrm>
              <a:off x="6607752" y="3056212"/>
              <a:ext cx="133350" cy="9525"/>
            </a:xfrm>
            <a:custGeom>
              <a:avLst/>
              <a:gdLst>
                <a:gd name="connsiteX0" fmla="*/ 0 w 133350"/>
                <a:gd name="connsiteY0" fmla="*/ 0 h 9525"/>
                <a:gd name="connsiteX1" fmla="*/ 133350 w 13335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3350" h="9525">
                  <a:moveTo>
                    <a:pt x="0" y="0"/>
                  </a:moveTo>
                  <a:lnTo>
                    <a:pt x="133350" y="0"/>
                  </a:lnTo>
                </a:path>
              </a:pathLst>
            </a:custGeom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1" name="Freihandform: Form 301">
              <a:extLst>
                <a:ext uri="{FF2B5EF4-FFF2-40B4-BE49-F238E27FC236}">
                  <a16:creationId xmlns:a16="http://schemas.microsoft.com/office/drawing/2014/main" id="{3DF5E7D4-8E0F-4599-AF1C-EA2BF7C8FFB9}"/>
                </a:ext>
              </a:extLst>
            </p:cNvPr>
            <p:cNvSpPr/>
            <p:nvPr/>
          </p:nvSpPr>
          <p:spPr>
            <a:xfrm>
              <a:off x="6512502" y="2608537"/>
              <a:ext cx="323850" cy="390525"/>
            </a:xfrm>
            <a:custGeom>
              <a:avLst/>
              <a:gdLst>
                <a:gd name="connsiteX0" fmla="*/ 323850 w 323850"/>
                <a:gd name="connsiteY0" fmla="*/ 161925 h 390525"/>
                <a:gd name="connsiteX1" fmla="*/ 161925 w 323850"/>
                <a:gd name="connsiteY1" fmla="*/ 0 h 390525"/>
                <a:gd name="connsiteX2" fmla="*/ 0 w 323850"/>
                <a:gd name="connsiteY2" fmla="*/ 161925 h 390525"/>
                <a:gd name="connsiteX3" fmla="*/ 95250 w 323850"/>
                <a:gd name="connsiteY3" fmla="*/ 309563 h 390525"/>
                <a:gd name="connsiteX4" fmla="*/ 95250 w 323850"/>
                <a:gd name="connsiteY4" fmla="*/ 390525 h 390525"/>
                <a:gd name="connsiteX5" fmla="*/ 228600 w 323850"/>
                <a:gd name="connsiteY5" fmla="*/ 390525 h 390525"/>
                <a:gd name="connsiteX6" fmla="*/ 228600 w 323850"/>
                <a:gd name="connsiteY6" fmla="*/ 309563 h 390525"/>
                <a:gd name="connsiteX7" fmla="*/ 323850 w 323850"/>
                <a:gd name="connsiteY7" fmla="*/ 161925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23850" h="390525">
                  <a:moveTo>
                    <a:pt x="323850" y="161925"/>
                  </a:moveTo>
                  <a:cubicBezTo>
                    <a:pt x="323850" y="72390"/>
                    <a:pt x="251460" y="0"/>
                    <a:pt x="161925" y="0"/>
                  </a:cubicBezTo>
                  <a:cubicBezTo>
                    <a:pt x="72390" y="0"/>
                    <a:pt x="0" y="72390"/>
                    <a:pt x="0" y="161925"/>
                  </a:cubicBezTo>
                  <a:cubicBezTo>
                    <a:pt x="0" y="227648"/>
                    <a:pt x="39053" y="283845"/>
                    <a:pt x="95250" y="309563"/>
                  </a:cubicBezTo>
                  <a:lnTo>
                    <a:pt x="95250" y="390525"/>
                  </a:lnTo>
                  <a:lnTo>
                    <a:pt x="228600" y="390525"/>
                  </a:lnTo>
                  <a:lnTo>
                    <a:pt x="228600" y="309563"/>
                  </a:lnTo>
                  <a:cubicBezTo>
                    <a:pt x="284798" y="283845"/>
                    <a:pt x="323850" y="227648"/>
                    <a:pt x="323850" y="161925"/>
                  </a:cubicBez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72" name="Textfeld 271">
            <a:extLst>
              <a:ext uri="{FF2B5EF4-FFF2-40B4-BE49-F238E27FC236}">
                <a16:creationId xmlns:a16="http://schemas.microsoft.com/office/drawing/2014/main" id="{53721E08-E604-448A-B791-24E92CAA4425}"/>
              </a:ext>
            </a:extLst>
          </p:cNvPr>
          <p:cNvSpPr txBox="1"/>
          <p:nvPr/>
        </p:nvSpPr>
        <p:spPr>
          <a:xfrm>
            <a:off x="778154" y="1509612"/>
            <a:ext cx="2440079" cy="559931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0" rIns="72000" bIns="0" rtlCol="0" anchor="ctr">
            <a:no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novative Ideen </a:t>
            </a: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den,</a:t>
            </a:r>
            <a:r>
              <a:rPr kumimoji="0" lang="de-DE" sz="10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werten, testen und weiterentwickeln</a:t>
            </a:r>
          </a:p>
        </p:txBody>
      </p:sp>
      <p:sp>
        <p:nvSpPr>
          <p:cNvPr id="273" name="Textfeld 272">
            <a:extLst>
              <a:ext uri="{FF2B5EF4-FFF2-40B4-BE49-F238E27FC236}">
                <a16:creationId xmlns:a16="http://schemas.microsoft.com/office/drawing/2014/main" id="{241EC1A4-AC84-409A-91C9-AAD74D5C62C8}"/>
              </a:ext>
            </a:extLst>
          </p:cNvPr>
          <p:cNvSpPr txBox="1"/>
          <p:nvPr/>
        </p:nvSpPr>
        <p:spPr>
          <a:xfrm>
            <a:off x="6296447" y="2520750"/>
            <a:ext cx="2243789" cy="406800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0" rIns="0" bIns="0" rtlCol="0" anchor="ctr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iträge zum 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ssensmanagemen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74" name="Grafik 32">
            <a:extLst>
              <a:ext uri="{FF2B5EF4-FFF2-40B4-BE49-F238E27FC236}">
                <a16:creationId xmlns:a16="http://schemas.microsoft.com/office/drawing/2014/main" id="{31668F65-834B-4088-8535-A99B0AEA4225}"/>
              </a:ext>
            </a:extLst>
          </p:cNvPr>
          <p:cNvGrpSpPr>
            <a:grpSpLocks noChangeAspect="1"/>
          </p:cNvGrpSpPr>
          <p:nvPr/>
        </p:nvGrpSpPr>
        <p:grpSpPr>
          <a:xfrm>
            <a:off x="5714872" y="2642403"/>
            <a:ext cx="252000" cy="252000"/>
            <a:chOff x="4128851" y="2373630"/>
            <a:chExt cx="571500" cy="571500"/>
          </a:xfrm>
          <a:noFill/>
        </p:grpSpPr>
        <p:sp>
          <p:nvSpPr>
            <p:cNvPr id="275" name="Freihandform: Form 240">
              <a:extLst>
                <a:ext uri="{FF2B5EF4-FFF2-40B4-BE49-F238E27FC236}">
                  <a16:creationId xmlns:a16="http://schemas.microsoft.com/office/drawing/2014/main" id="{6531B02E-A576-4636-8613-63C9654862B2}"/>
                </a:ext>
              </a:extLst>
            </p:cNvPr>
            <p:cNvSpPr/>
            <p:nvPr/>
          </p:nvSpPr>
          <p:spPr>
            <a:xfrm>
              <a:off x="4128851" y="2373630"/>
              <a:ext cx="285750" cy="571500"/>
            </a:xfrm>
            <a:custGeom>
              <a:avLst/>
              <a:gdLst>
                <a:gd name="connsiteX0" fmla="*/ 285750 w 285750"/>
                <a:gd name="connsiteY0" fmla="*/ 78105 h 571500"/>
                <a:gd name="connsiteX1" fmla="*/ 207645 w 285750"/>
                <a:gd name="connsiteY1" fmla="*/ 0 h 571500"/>
                <a:gd name="connsiteX2" fmla="*/ 134303 w 285750"/>
                <a:gd name="connsiteY2" fmla="*/ 52388 h 571500"/>
                <a:gd name="connsiteX3" fmla="*/ 129540 w 285750"/>
                <a:gd name="connsiteY3" fmla="*/ 52388 h 571500"/>
                <a:gd name="connsiteX4" fmla="*/ 0 w 285750"/>
                <a:gd name="connsiteY4" fmla="*/ 181928 h 571500"/>
                <a:gd name="connsiteX5" fmla="*/ 36195 w 285750"/>
                <a:gd name="connsiteY5" fmla="*/ 272415 h 571500"/>
                <a:gd name="connsiteX6" fmla="*/ 0 w 285750"/>
                <a:gd name="connsiteY6" fmla="*/ 338138 h 571500"/>
                <a:gd name="connsiteX7" fmla="*/ 33338 w 285750"/>
                <a:gd name="connsiteY7" fmla="*/ 401955 h 571500"/>
                <a:gd name="connsiteX8" fmla="*/ 26670 w 285750"/>
                <a:gd name="connsiteY8" fmla="*/ 441960 h 571500"/>
                <a:gd name="connsiteX9" fmla="*/ 156210 w 285750"/>
                <a:gd name="connsiteY9" fmla="*/ 571500 h 571500"/>
                <a:gd name="connsiteX10" fmla="*/ 285750 w 285750"/>
                <a:gd name="connsiteY10" fmla="*/ 441960 h 571500"/>
                <a:gd name="connsiteX11" fmla="*/ 285750 w 285750"/>
                <a:gd name="connsiteY11" fmla="*/ 247650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5750" h="571500">
                  <a:moveTo>
                    <a:pt x="285750" y="78105"/>
                  </a:moveTo>
                  <a:cubicBezTo>
                    <a:pt x="285750" y="35243"/>
                    <a:pt x="250508" y="0"/>
                    <a:pt x="207645" y="0"/>
                  </a:cubicBezTo>
                  <a:cubicBezTo>
                    <a:pt x="173355" y="0"/>
                    <a:pt x="144780" y="21908"/>
                    <a:pt x="134303" y="52388"/>
                  </a:cubicBezTo>
                  <a:cubicBezTo>
                    <a:pt x="132398" y="52388"/>
                    <a:pt x="131445" y="52388"/>
                    <a:pt x="129540" y="52388"/>
                  </a:cubicBezTo>
                  <a:cubicBezTo>
                    <a:pt x="58103" y="52388"/>
                    <a:pt x="0" y="110490"/>
                    <a:pt x="0" y="181928"/>
                  </a:cubicBezTo>
                  <a:cubicBezTo>
                    <a:pt x="0" y="217170"/>
                    <a:pt x="14288" y="248603"/>
                    <a:pt x="36195" y="272415"/>
                  </a:cubicBezTo>
                  <a:cubicBezTo>
                    <a:pt x="14288" y="285750"/>
                    <a:pt x="0" y="309563"/>
                    <a:pt x="0" y="338138"/>
                  </a:cubicBezTo>
                  <a:cubicBezTo>
                    <a:pt x="0" y="364808"/>
                    <a:pt x="13335" y="387668"/>
                    <a:pt x="33338" y="401955"/>
                  </a:cubicBezTo>
                  <a:cubicBezTo>
                    <a:pt x="29528" y="414338"/>
                    <a:pt x="26670" y="428625"/>
                    <a:pt x="26670" y="441960"/>
                  </a:cubicBezTo>
                  <a:cubicBezTo>
                    <a:pt x="26670" y="513398"/>
                    <a:pt x="84773" y="571500"/>
                    <a:pt x="156210" y="571500"/>
                  </a:cubicBezTo>
                  <a:cubicBezTo>
                    <a:pt x="227648" y="571500"/>
                    <a:pt x="285750" y="513398"/>
                    <a:pt x="285750" y="441960"/>
                  </a:cubicBezTo>
                  <a:lnTo>
                    <a:pt x="285750" y="247650"/>
                  </a:ln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6" name="Freihandform: Form 241">
              <a:extLst>
                <a:ext uri="{FF2B5EF4-FFF2-40B4-BE49-F238E27FC236}">
                  <a16:creationId xmlns:a16="http://schemas.microsoft.com/office/drawing/2014/main" id="{9708A60C-259F-493C-8DCC-16566A1600F0}"/>
                </a:ext>
              </a:extLst>
            </p:cNvPr>
            <p:cNvSpPr/>
            <p:nvPr/>
          </p:nvSpPr>
          <p:spPr>
            <a:xfrm>
              <a:off x="4414601" y="2373630"/>
              <a:ext cx="285750" cy="571500"/>
            </a:xfrm>
            <a:custGeom>
              <a:avLst/>
              <a:gdLst>
                <a:gd name="connsiteX0" fmla="*/ 0 w 285750"/>
                <a:gd name="connsiteY0" fmla="*/ 78105 h 571500"/>
                <a:gd name="connsiteX1" fmla="*/ 78105 w 285750"/>
                <a:gd name="connsiteY1" fmla="*/ 0 h 571500"/>
                <a:gd name="connsiteX2" fmla="*/ 151448 w 285750"/>
                <a:gd name="connsiteY2" fmla="*/ 52388 h 571500"/>
                <a:gd name="connsiteX3" fmla="*/ 156210 w 285750"/>
                <a:gd name="connsiteY3" fmla="*/ 52388 h 571500"/>
                <a:gd name="connsiteX4" fmla="*/ 285750 w 285750"/>
                <a:gd name="connsiteY4" fmla="*/ 181928 h 571500"/>
                <a:gd name="connsiteX5" fmla="*/ 249555 w 285750"/>
                <a:gd name="connsiteY5" fmla="*/ 272415 h 571500"/>
                <a:gd name="connsiteX6" fmla="*/ 285750 w 285750"/>
                <a:gd name="connsiteY6" fmla="*/ 338138 h 571500"/>
                <a:gd name="connsiteX7" fmla="*/ 252413 w 285750"/>
                <a:gd name="connsiteY7" fmla="*/ 401955 h 571500"/>
                <a:gd name="connsiteX8" fmla="*/ 259080 w 285750"/>
                <a:gd name="connsiteY8" fmla="*/ 441960 h 571500"/>
                <a:gd name="connsiteX9" fmla="*/ 129540 w 285750"/>
                <a:gd name="connsiteY9" fmla="*/ 571500 h 571500"/>
                <a:gd name="connsiteX10" fmla="*/ 0 w 285750"/>
                <a:gd name="connsiteY10" fmla="*/ 441960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5750" h="571500">
                  <a:moveTo>
                    <a:pt x="0" y="78105"/>
                  </a:moveTo>
                  <a:cubicBezTo>
                    <a:pt x="0" y="35243"/>
                    <a:pt x="35243" y="0"/>
                    <a:pt x="78105" y="0"/>
                  </a:cubicBezTo>
                  <a:cubicBezTo>
                    <a:pt x="112395" y="0"/>
                    <a:pt x="140970" y="21908"/>
                    <a:pt x="151448" y="52388"/>
                  </a:cubicBezTo>
                  <a:cubicBezTo>
                    <a:pt x="153352" y="52388"/>
                    <a:pt x="154305" y="52388"/>
                    <a:pt x="156210" y="52388"/>
                  </a:cubicBezTo>
                  <a:cubicBezTo>
                    <a:pt x="227648" y="52388"/>
                    <a:pt x="285750" y="110490"/>
                    <a:pt x="285750" y="181928"/>
                  </a:cubicBezTo>
                  <a:cubicBezTo>
                    <a:pt x="285750" y="217170"/>
                    <a:pt x="271463" y="248603"/>
                    <a:pt x="249555" y="272415"/>
                  </a:cubicBezTo>
                  <a:cubicBezTo>
                    <a:pt x="271463" y="285750"/>
                    <a:pt x="285750" y="310515"/>
                    <a:pt x="285750" y="338138"/>
                  </a:cubicBezTo>
                  <a:cubicBezTo>
                    <a:pt x="285750" y="364808"/>
                    <a:pt x="272415" y="387668"/>
                    <a:pt x="252413" y="401955"/>
                  </a:cubicBezTo>
                  <a:cubicBezTo>
                    <a:pt x="256223" y="414338"/>
                    <a:pt x="259080" y="428625"/>
                    <a:pt x="259080" y="441960"/>
                  </a:cubicBezTo>
                  <a:cubicBezTo>
                    <a:pt x="259080" y="513398"/>
                    <a:pt x="200977" y="571500"/>
                    <a:pt x="129540" y="571500"/>
                  </a:cubicBezTo>
                  <a:cubicBezTo>
                    <a:pt x="58102" y="571500"/>
                    <a:pt x="0" y="513398"/>
                    <a:pt x="0" y="441960"/>
                  </a:cubicBez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7" name="Freihandform: Form 242">
              <a:extLst>
                <a:ext uri="{FF2B5EF4-FFF2-40B4-BE49-F238E27FC236}">
                  <a16:creationId xmlns:a16="http://schemas.microsoft.com/office/drawing/2014/main" id="{3C3C74CF-9EC6-4BBF-A640-1BD0278B2390}"/>
                </a:ext>
              </a:extLst>
            </p:cNvPr>
            <p:cNvSpPr/>
            <p:nvPr/>
          </p:nvSpPr>
          <p:spPr>
            <a:xfrm>
              <a:off x="4164093" y="2645092"/>
              <a:ext cx="94297" cy="40005"/>
            </a:xfrm>
            <a:custGeom>
              <a:avLst/>
              <a:gdLst>
                <a:gd name="connsiteX0" fmla="*/ 94298 w 94297"/>
                <a:gd name="connsiteY0" fmla="*/ 40005 h 40005"/>
                <a:gd name="connsiteX1" fmla="*/ 0 w 94297"/>
                <a:gd name="connsiteY1" fmla="*/ 0 h 4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297" h="40005">
                  <a:moveTo>
                    <a:pt x="94298" y="40005"/>
                  </a:moveTo>
                  <a:cubicBezTo>
                    <a:pt x="57150" y="40005"/>
                    <a:pt x="23813" y="24765"/>
                    <a:pt x="0" y="0"/>
                  </a:cubicBez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8" name="Freihandform: Form 243">
              <a:extLst>
                <a:ext uri="{FF2B5EF4-FFF2-40B4-BE49-F238E27FC236}">
                  <a16:creationId xmlns:a16="http://schemas.microsoft.com/office/drawing/2014/main" id="{9E4F4C6A-363F-4CD1-A95E-FC9A54F8B2FC}"/>
                </a:ext>
              </a:extLst>
            </p:cNvPr>
            <p:cNvSpPr/>
            <p:nvPr/>
          </p:nvSpPr>
          <p:spPr>
            <a:xfrm>
              <a:off x="4570811" y="2645092"/>
              <a:ext cx="94297" cy="40005"/>
            </a:xfrm>
            <a:custGeom>
              <a:avLst/>
              <a:gdLst>
                <a:gd name="connsiteX0" fmla="*/ 0 w 94297"/>
                <a:gd name="connsiteY0" fmla="*/ 40005 h 40005"/>
                <a:gd name="connsiteX1" fmla="*/ 94297 w 94297"/>
                <a:gd name="connsiteY1" fmla="*/ 0 h 40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4297" h="40005">
                  <a:moveTo>
                    <a:pt x="0" y="40005"/>
                  </a:moveTo>
                  <a:cubicBezTo>
                    <a:pt x="37147" y="40005"/>
                    <a:pt x="70485" y="24765"/>
                    <a:pt x="94297" y="0"/>
                  </a:cubicBez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9" name="Freihandform: Form 244">
              <a:extLst>
                <a:ext uri="{FF2B5EF4-FFF2-40B4-BE49-F238E27FC236}">
                  <a16:creationId xmlns:a16="http://schemas.microsoft.com/office/drawing/2014/main" id="{0C895905-ABFF-44AC-BB37-D462D2EC543F}"/>
                </a:ext>
              </a:extLst>
            </p:cNvPr>
            <p:cNvSpPr/>
            <p:nvPr/>
          </p:nvSpPr>
          <p:spPr>
            <a:xfrm>
              <a:off x="4338401" y="2451734"/>
              <a:ext cx="76200" cy="74295"/>
            </a:xfrm>
            <a:custGeom>
              <a:avLst/>
              <a:gdLst>
                <a:gd name="connsiteX0" fmla="*/ 76200 w 76200"/>
                <a:gd name="connsiteY0" fmla="*/ 0 h 74295"/>
                <a:gd name="connsiteX1" fmla="*/ 0 w 76200"/>
                <a:gd name="connsiteY1" fmla="*/ 74295 h 74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200" h="74295">
                  <a:moveTo>
                    <a:pt x="76200" y="0"/>
                  </a:moveTo>
                  <a:cubicBezTo>
                    <a:pt x="76200" y="42863"/>
                    <a:pt x="42863" y="74295"/>
                    <a:pt x="0" y="74295"/>
                  </a:cubicBez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0" name="Freihandform: Form 245">
              <a:extLst>
                <a:ext uri="{FF2B5EF4-FFF2-40B4-BE49-F238E27FC236}">
                  <a16:creationId xmlns:a16="http://schemas.microsoft.com/office/drawing/2014/main" id="{E5C59242-6470-4ECC-82B7-88C22569A6BB}"/>
                </a:ext>
              </a:extLst>
            </p:cNvPr>
            <p:cNvSpPr/>
            <p:nvPr/>
          </p:nvSpPr>
          <p:spPr>
            <a:xfrm>
              <a:off x="4414601" y="2451734"/>
              <a:ext cx="76200" cy="74295"/>
            </a:xfrm>
            <a:custGeom>
              <a:avLst/>
              <a:gdLst>
                <a:gd name="connsiteX0" fmla="*/ 0 w 76200"/>
                <a:gd name="connsiteY0" fmla="*/ 0 h 74295"/>
                <a:gd name="connsiteX1" fmla="*/ 76200 w 76200"/>
                <a:gd name="connsiteY1" fmla="*/ 74295 h 74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200" h="74295">
                  <a:moveTo>
                    <a:pt x="0" y="0"/>
                  </a:moveTo>
                  <a:cubicBezTo>
                    <a:pt x="0" y="42863"/>
                    <a:pt x="33338" y="74295"/>
                    <a:pt x="76200" y="74295"/>
                  </a:cubicBez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1" name="Freihandform: Form 246">
              <a:extLst>
                <a:ext uri="{FF2B5EF4-FFF2-40B4-BE49-F238E27FC236}">
                  <a16:creationId xmlns:a16="http://schemas.microsoft.com/office/drawing/2014/main" id="{C2F15272-35A1-4C5D-A218-490C748767A5}"/>
                </a:ext>
              </a:extLst>
            </p:cNvPr>
            <p:cNvSpPr/>
            <p:nvPr/>
          </p:nvSpPr>
          <p:spPr>
            <a:xfrm>
              <a:off x="4259343" y="2626995"/>
              <a:ext cx="51435" cy="131445"/>
            </a:xfrm>
            <a:custGeom>
              <a:avLst/>
              <a:gdLst>
                <a:gd name="connsiteX0" fmla="*/ 51435 w 51435"/>
                <a:gd name="connsiteY0" fmla="*/ 131445 h 131445"/>
                <a:gd name="connsiteX1" fmla="*/ 0 w 51435"/>
                <a:gd name="connsiteY1" fmla="*/ 58103 h 131445"/>
                <a:gd name="connsiteX2" fmla="*/ 25717 w 51435"/>
                <a:gd name="connsiteY2" fmla="*/ 0 h 131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435" h="131445">
                  <a:moveTo>
                    <a:pt x="51435" y="131445"/>
                  </a:moveTo>
                  <a:cubicBezTo>
                    <a:pt x="20955" y="120967"/>
                    <a:pt x="0" y="91440"/>
                    <a:pt x="0" y="58103"/>
                  </a:cubicBezTo>
                  <a:cubicBezTo>
                    <a:pt x="0" y="35242"/>
                    <a:pt x="10478" y="14288"/>
                    <a:pt x="25717" y="0"/>
                  </a:cubicBez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2" name="Freihandform: Form 247">
              <a:extLst>
                <a:ext uri="{FF2B5EF4-FFF2-40B4-BE49-F238E27FC236}">
                  <a16:creationId xmlns:a16="http://schemas.microsoft.com/office/drawing/2014/main" id="{4F4DCA36-15CA-42A8-98AC-FE764A84AD7E}"/>
                </a:ext>
              </a:extLst>
            </p:cNvPr>
            <p:cNvSpPr/>
            <p:nvPr/>
          </p:nvSpPr>
          <p:spPr>
            <a:xfrm>
              <a:off x="4518423" y="2626995"/>
              <a:ext cx="51434" cy="131445"/>
            </a:xfrm>
            <a:custGeom>
              <a:avLst/>
              <a:gdLst>
                <a:gd name="connsiteX0" fmla="*/ 0 w 51434"/>
                <a:gd name="connsiteY0" fmla="*/ 131445 h 131445"/>
                <a:gd name="connsiteX1" fmla="*/ 51435 w 51434"/>
                <a:gd name="connsiteY1" fmla="*/ 58103 h 131445"/>
                <a:gd name="connsiteX2" fmla="*/ 25717 w 51434"/>
                <a:gd name="connsiteY2" fmla="*/ 0 h 131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1434" h="131445">
                  <a:moveTo>
                    <a:pt x="0" y="131445"/>
                  </a:moveTo>
                  <a:cubicBezTo>
                    <a:pt x="30480" y="120967"/>
                    <a:pt x="51435" y="91440"/>
                    <a:pt x="51435" y="58103"/>
                  </a:cubicBezTo>
                  <a:cubicBezTo>
                    <a:pt x="51435" y="35242"/>
                    <a:pt x="40957" y="14288"/>
                    <a:pt x="25717" y="0"/>
                  </a:cubicBez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83" name="Gruppieren 282">
            <a:extLst>
              <a:ext uri="{FF2B5EF4-FFF2-40B4-BE49-F238E27FC236}">
                <a16:creationId xmlns:a16="http://schemas.microsoft.com/office/drawing/2014/main" id="{8DBD6566-1E30-4C24-90E6-4AD5D711A857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5372535" y="1841251"/>
            <a:ext cx="361963" cy="252000"/>
            <a:chOff x="908078" y="4897533"/>
            <a:chExt cx="1038960" cy="723332"/>
          </a:xfrm>
        </p:grpSpPr>
        <p:grpSp>
          <p:nvGrpSpPr>
            <p:cNvPr id="284" name="Gruppieren 283">
              <a:extLst>
                <a:ext uri="{FF2B5EF4-FFF2-40B4-BE49-F238E27FC236}">
                  <a16:creationId xmlns:a16="http://schemas.microsoft.com/office/drawing/2014/main" id="{B01BBFF2-7A03-4A0B-8A41-3E317018D9A6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953876" y="4897533"/>
              <a:ext cx="993162" cy="723332"/>
              <a:chOff x="6597651" y="4813680"/>
              <a:chExt cx="703362" cy="512267"/>
            </a:xfrm>
          </p:grpSpPr>
          <p:sp>
            <p:nvSpPr>
              <p:cNvPr id="286" name="Auf der gleichen Seite des Rechtecks liegende Ecken abrunden 2411">
                <a:extLst>
                  <a:ext uri="{FF2B5EF4-FFF2-40B4-BE49-F238E27FC236}">
                    <a16:creationId xmlns:a16="http://schemas.microsoft.com/office/drawing/2014/main" id="{AA8FAC47-468F-423A-855F-03D91615145B}"/>
                  </a:ext>
                </a:extLst>
              </p:cNvPr>
              <p:cNvSpPr/>
              <p:nvPr/>
            </p:nvSpPr>
            <p:spPr>
              <a:xfrm>
                <a:off x="6634581" y="4840094"/>
                <a:ext cx="534222" cy="406571"/>
              </a:xfrm>
              <a:prstGeom prst="round2SameRect">
                <a:avLst>
                  <a:gd name="adj1" fmla="val 8534"/>
                  <a:gd name="adj2" fmla="val 0"/>
                </a:avLst>
              </a:prstGeom>
              <a:noFill/>
              <a:ln w="19050">
                <a:solidFill>
                  <a:srgbClr val="485C6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87" name="Rechteck 286">
                <a:extLst>
                  <a:ext uri="{FF2B5EF4-FFF2-40B4-BE49-F238E27FC236}">
                    <a16:creationId xmlns:a16="http://schemas.microsoft.com/office/drawing/2014/main" id="{72681467-F986-47D2-9E5E-36E180D1552E}"/>
                  </a:ext>
                </a:extLst>
              </p:cNvPr>
              <p:cNvSpPr/>
              <p:nvPr/>
            </p:nvSpPr>
            <p:spPr>
              <a:xfrm>
                <a:off x="6597651" y="5246665"/>
                <a:ext cx="608082" cy="79282"/>
              </a:xfrm>
              <a:prstGeom prst="rect">
                <a:avLst/>
              </a:prstGeom>
              <a:noFill/>
              <a:ln w="19050">
                <a:solidFill>
                  <a:srgbClr val="485C6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88" name="Ellipse 287">
                <a:extLst>
                  <a:ext uri="{FF2B5EF4-FFF2-40B4-BE49-F238E27FC236}">
                    <a16:creationId xmlns:a16="http://schemas.microsoft.com/office/drawing/2014/main" id="{D646448D-B568-4853-A560-415BD5AF2AF1}"/>
                  </a:ext>
                </a:extLst>
              </p:cNvPr>
              <p:cNvSpPr/>
              <p:nvPr/>
            </p:nvSpPr>
            <p:spPr>
              <a:xfrm>
                <a:off x="6689324" y="5081987"/>
                <a:ext cx="96637" cy="96637"/>
              </a:xfrm>
              <a:prstGeom prst="ellipse">
                <a:avLst/>
              </a:prstGeom>
              <a:noFill/>
              <a:ln w="19050">
                <a:solidFill>
                  <a:srgbClr val="485C6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cxnSp>
            <p:nvCxnSpPr>
              <p:cNvPr id="289" name="Gerader Verbinder 288">
                <a:extLst>
                  <a:ext uri="{FF2B5EF4-FFF2-40B4-BE49-F238E27FC236}">
                    <a16:creationId xmlns:a16="http://schemas.microsoft.com/office/drawing/2014/main" id="{49C4FB85-0EF4-4E94-B70B-A8C8AA6E4F8B}"/>
                  </a:ext>
                </a:extLst>
              </p:cNvPr>
              <p:cNvCxnSpPr/>
              <p:nvPr/>
            </p:nvCxnSpPr>
            <p:spPr>
              <a:xfrm>
                <a:off x="6737642" y="4840094"/>
                <a:ext cx="0" cy="243960"/>
              </a:xfrm>
              <a:prstGeom prst="line">
                <a:avLst/>
              </a:prstGeom>
              <a:ln w="19050">
                <a:solidFill>
                  <a:srgbClr val="485C6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0" name="Ellipse 289">
                <a:extLst>
                  <a:ext uri="{FF2B5EF4-FFF2-40B4-BE49-F238E27FC236}">
                    <a16:creationId xmlns:a16="http://schemas.microsoft.com/office/drawing/2014/main" id="{6142A62A-9171-4710-8E7E-E011934D77AD}"/>
                  </a:ext>
                </a:extLst>
              </p:cNvPr>
              <p:cNvSpPr/>
              <p:nvPr/>
            </p:nvSpPr>
            <p:spPr>
              <a:xfrm>
                <a:off x="6804304" y="5081987"/>
                <a:ext cx="96637" cy="96637"/>
              </a:xfrm>
              <a:prstGeom prst="ellipse">
                <a:avLst/>
              </a:prstGeom>
              <a:noFill/>
              <a:ln w="19050">
                <a:solidFill>
                  <a:srgbClr val="485C6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cxnSp>
            <p:nvCxnSpPr>
              <p:cNvPr id="291" name="Gerader Verbinder 290">
                <a:extLst>
                  <a:ext uri="{FF2B5EF4-FFF2-40B4-BE49-F238E27FC236}">
                    <a16:creationId xmlns:a16="http://schemas.microsoft.com/office/drawing/2014/main" id="{EC43FBDF-6FF4-4A36-9815-16BC818C2FD6}"/>
                  </a:ext>
                </a:extLst>
              </p:cNvPr>
              <p:cNvCxnSpPr/>
              <p:nvPr/>
            </p:nvCxnSpPr>
            <p:spPr>
              <a:xfrm>
                <a:off x="6852622" y="4840094"/>
                <a:ext cx="0" cy="243960"/>
              </a:xfrm>
              <a:prstGeom prst="line">
                <a:avLst/>
              </a:prstGeom>
              <a:ln w="19050">
                <a:solidFill>
                  <a:srgbClr val="485C6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2" name="Ellipse 291">
                <a:extLst>
                  <a:ext uri="{FF2B5EF4-FFF2-40B4-BE49-F238E27FC236}">
                    <a16:creationId xmlns:a16="http://schemas.microsoft.com/office/drawing/2014/main" id="{926907DE-31E5-440B-94F7-6F468399C98F}"/>
                  </a:ext>
                </a:extLst>
              </p:cNvPr>
              <p:cNvSpPr/>
              <p:nvPr/>
            </p:nvSpPr>
            <p:spPr>
              <a:xfrm>
                <a:off x="6919285" y="5081987"/>
                <a:ext cx="96637" cy="96637"/>
              </a:xfrm>
              <a:prstGeom prst="ellipse">
                <a:avLst/>
              </a:prstGeom>
              <a:noFill/>
              <a:ln w="19050">
                <a:solidFill>
                  <a:srgbClr val="485C6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cxnSp>
            <p:nvCxnSpPr>
              <p:cNvPr id="293" name="Gerader Verbinder 292">
                <a:extLst>
                  <a:ext uri="{FF2B5EF4-FFF2-40B4-BE49-F238E27FC236}">
                    <a16:creationId xmlns:a16="http://schemas.microsoft.com/office/drawing/2014/main" id="{B4F622AD-8A3A-48F8-811A-88122F6B377B}"/>
                  </a:ext>
                </a:extLst>
              </p:cNvPr>
              <p:cNvCxnSpPr/>
              <p:nvPr/>
            </p:nvCxnSpPr>
            <p:spPr>
              <a:xfrm>
                <a:off x="6967603" y="4840094"/>
                <a:ext cx="0" cy="243960"/>
              </a:xfrm>
              <a:prstGeom prst="line">
                <a:avLst/>
              </a:prstGeom>
              <a:ln w="19050">
                <a:solidFill>
                  <a:srgbClr val="485C6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4" name="Ellipse 293">
                <a:extLst>
                  <a:ext uri="{FF2B5EF4-FFF2-40B4-BE49-F238E27FC236}">
                    <a16:creationId xmlns:a16="http://schemas.microsoft.com/office/drawing/2014/main" id="{32259E75-1839-4FD9-988D-E9E5C10133DA}"/>
                  </a:ext>
                </a:extLst>
              </p:cNvPr>
              <p:cNvSpPr/>
              <p:nvPr/>
            </p:nvSpPr>
            <p:spPr>
              <a:xfrm rot="19192930">
                <a:off x="7204376" y="5015991"/>
                <a:ext cx="96637" cy="96637"/>
              </a:xfrm>
              <a:prstGeom prst="ellipse">
                <a:avLst/>
              </a:prstGeom>
              <a:noFill/>
              <a:ln w="19050">
                <a:solidFill>
                  <a:srgbClr val="485C6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cxnSp>
            <p:nvCxnSpPr>
              <p:cNvPr id="295" name="Gerader Verbinder 294">
                <a:extLst>
                  <a:ext uri="{FF2B5EF4-FFF2-40B4-BE49-F238E27FC236}">
                    <a16:creationId xmlns:a16="http://schemas.microsoft.com/office/drawing/2014/main" id="{F096BAE5-DFED-475B-AF84-2F6535EF3DF1}"/>
                  </a:ext>
                </a:extLst>
              </p:cNvPr>
              <p:cNvCxnSpPr/>
              <p:nvPr/>
            </p:nvCxnSpPr>
            <p:spPr>
              <a:xfrm rot="19192930">
                <a:off x="7144293" y="4813680"/>
                <a:ext cx="0" cy="243960"/>
              </a:xfrm>
              <a:prstGeom prst="line">
                <a:avLst/>
              </a:prstGeom>
              <a:ln w="19050">
                <a:solidFill>
                  <a:srgbClr val="485C6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85" name="Arc 9">
              <a:extLst>
                <a:ext uri="{FF2B5EF4-FFF2-40B4-BE49-F238E27FC236}">
                  <a16:creationId xmlns:a16="http://schemas.microsoft.com/office/drawing/2014/main" id="{21C4A172-E0EA-46B0-BE57-67BD7619BEDD}"/>
                </a:ext>
              </a:extLst>
            </p:cNvPr>
            <p:cNvSpPr>
              <a:spLocks/>
            </p:cNvSpPr>
            <p:nvPr/>
          </p:nvSpPr>
          <p:spPr bwMode="auto">
            <a:xfrm rot="14603987" flipH="1">
              <a:off x="962968" y="5156630"/>
              <a:ext cx="249764" cy="359544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9050" cap="rnd">
              <a:solidFill>
                <a:srgbClr val="485C6A"/>
              </a:solidFill>
              <a:round/>
              <a:headEnd type="triangl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96" name="Textfeld 295">
            <a:extLst>
              <a:ext uri="{FF2B5EF4-FFF2-40B4-BE49-F238E27FC236}">
                <a16:creationId xmlns:a16="http://schemas.microsoft.com/office/drawing/2014/main" id="{BB8E67BC-A249-4C53-8040-6A8CC698AF7A}"/>
              </a:ext>
            </a:extLst>
          </p:cNvPr>
          <p:cNvSpPr txBox="1"/>
          <p:nvPr/>
        </p:nvSpPr>
        <p:spPr>
          <a:xfrm>
            <a:off x="5969197" y="1743532"/>
            <a:ext cx="2098068" cy="407224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0" rIns="0" bIns="0" rtlCol="0" anchor="ctr" anchorCtr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egische Themenfelder der 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ukunftsentwicklung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rschließen</a:t>
            </a:r>
          </a:p>
        </p:txBody>
      </p:sp>
      <p:sp>
        <p:nvSpPr>
          <p:cNvPr id="298" name="Textfeld 297">
            <a:extLst>
              <a:ext uri="{FF2B5EF4-FFF2-40B4-BE49-F238E27FC236}">
                <a16:creationId xmlns:a16="http://schemas.microsoft.com/office/drawing/2014/main" id="{AF893A45-BC89-406E-B293-725C7D220553}"/>
              </a:ext>
            </a:extLst>
          </p:cNvPr>
          <p:cNvSpPr txBox="1"/>
          <p:nvPr/>
        </p:nvSpPr>
        <p:spPr>
          <a:xfrm>
            <a:off x="0" y="4037180"/>
            <a:ext cx="9144000" cy="747490"/>
          </a:xfrm>
          <a:prstGeom prst="rect">
            <a:avLst/>
          </a:prstGeom>
          <a:solidFill>
            <a:schemeClr val="accent6"/>
          </a:solidFill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entraler koordinierender Akteur im Geschäftsbereich BMVg </a:t>
            </a:r>
          </a:p>
        </p:txBody>
      </p:sp>
      <p:sp>
        <p:nvSpPr>
          <p:cNvPr id="299" name="Textfeld 298">
            <a:extLst>
              <a:ext uri="{FF2B5EF4-FFF2-40B4-BE49-F238E27FC236}">
                <a16:creationId xmlns:a16="http://schemas.microsoft.com/office/drawing/2014/main" id="{C4D7EB68-BD29-4249-9BF3-AF44E53F701F}"/>
              </a:ext>
            </a:extLst>
          </p:cNvPr>
          <p:cNvSpPr txBox="1"/>
          <p:nvPr/>
        </p:nvSpPr>
        <p:spPr>
          <a:xfrm>
            <a:off x="3536113" y="758456"/>
            <a:ext cx="2361243" cy="406878"/>
          </a:xfrm>
          <a:prstGeom prst="rect">
            <a:avLst/>
          </a:prstGeom>
          <a:solidFill>
            <a:srgbClr val="C6D6DE"/>
          </a:solidFill>
        </p:spPr>
        <p:txBody>
          <a:bodyPr wrap="square" lIns="36000" tIns="0" rIns="0" bIns="0" rtlCol="0" anchor="ctr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Überführung Ideen in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novationsvorhaben</a:t>
            </a:r>
          </a:p>
        </p:txBody>
      </p:sp>
      <p:sp>
        <p:nvSpPr>
          <p:cNvPr id="98" name="Shape 478">
            <a:extLst>
              <a:ext uri="{FF2B5EF4-FFF2-40B4-BE49-F238E27FC236}">
                <a16:creationId xmlns:a16="http://schemas.microsoft.com/office/drawing/2014/main" id="{70AD9577-1AD8-410F-A5F6-2ADA5F036E66}"/>
              </a:ext>
            </a:extLst>
          </p:cNvPr>
          <p:cNvSpPr/>
          <p:nvPr/>
        </p:nvSpPr>
        <p:spPr>
          <a:xfrm flipH="1">
            <a:off x="4317656" y="1258720"/>
            <a:ext cx="596850" cy="596850"/>
          </a:xfrm>
          <a:prstGeom prst="ellipse">
            <a:avLst/>
          </a:prstGeom>
          <a:solidFill>
            <a:srgbClr val="FFFFFF"/>
          </a:solidFill>
          <a:ln w="38100">
            <a:solidFill>
              <a:srgbClr val="647B8A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2286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101" name="Textfeld 100">
            <a:extLst>
              <a:ext uri="{FF2B5EF4-FFF2-40B4-BE49-F238E27FC236}">
                <a16:creationId xmlns:a16="http://schemas.microsoft.com/office/drawing/2014/main" id="{761C9BA1-C706-46BB-A4A9-80E15A107AC7}"/>
              </a:ext>
            </a:extLst>
          </p:cNvPr>
          <p:cNvSpPr txBox="1"/>
          <p:nvPr/>
        </p:nvSpPr>
        <p:spPr>
          <a:xfrm>
            <a:off x="1376727" y="2562615"/>
            <a:ext cx="1585398" cy="406800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0" rIns="108000" bIns="0" rtlCol="0" anchor="ctr">
            <a:no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fbau</a:t>
            </a: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novationsökosystem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00" name="Gruppieren 299">
            <a:extLst>
              <a:ext uri="{FF2B5EF4-FFF2-40B4-BE49-F238E27FC236}">
                <a16:creationId xmlns:a16="http://schemas.microsoft.com/office/drawing/2014/main" id="{2AB294C6-0147-4380-9129-154F69C63954}"/>
              </a:ext>
            </a:extLst>
          </p:cNvPr>
          <p:cNvGrpSpPr>
            <a:grpSpLocks noChangeAspect="1"/>
          </p:cNvGrpSpPr>
          <p:nvPr/>
        </p:nvGrpSpPr>
        <p:grpSpPr>
          <a:xfrm>
            <a:off x="4494633" y="1419613"/>
            <a:ext cx="261002" cy="252000"/>
            <a:chOff x="2712834" y="4816612"/>
            <a:chExt cx="552450" cy="533401"/>
          </a:xfrm>
        </p:grpSpPr>
        <p:sp>
          <p:nvSpPr>
            <p:cNvPr id="301" name="Freihandform: Form 595">
              <a:extLst>
                <a:ext uri="{FF2B5EF4-FFF2-40B4-BE49-F238E27FC236}">
                  <a16:creationId xmlns:a16="http://schemas.microsoft.com/office/drawing/2014/main" id="{C8184C38-2182-4297-9327-49B8BDBE06D9}"/>
                </a:ext>
              </a:extLst>
            </p:cNvPr>
            <p:cNvSpPr/>
            <p:nvPr/>
          </p:nvSpPr>
          <p:spPr>
            <a:xfrm>
              <a:off x="2712834" y="5083313"/>
              <a:ext cx="552450" cy="9525"/>
            </a:xfrm>
            <a:custGeom>
              <a:avLst/>
              <a:gdLst>
                <a:gd name="connsiteX0" fmla="*/ 0 w 552450"/>
                <a:gd name="connsiteY0" fmla="*/ 0 h 9525"/>
                <a:gd name="connsiteX1" fmla="*/ 552450 w 55245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2450" h="9525">
                  <a:moveTo>
                    <a:pt x="0" y="0"/>
                  </a:moveTo>
                  <a:lnTo>
                    <a:pt x="552450" y="0"/>
                  </a:lnTo>
                </a:path>
              </a:pathLst>
            </a:custGeom>
            <a:ln w="19050" cap="flat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2" name="Freihandform: Form 596">
              <a:extLst>
                <a:ext uri="{FF2B5EF4-FFF2-40B4-BE49-F238E27FC236}">
                  <a16:creationId xmlns:a16="http://schemas.microsoft.com/office/drawing/2014/main" id="{BDC225F3-DD25-4A72-88E2-41F41FD06BFE}"/>
                </a:ext>
              </a:extLst>
            </p:cNvPr>
            <p:cNvSpPr/>
            <p:nvPr/>
          </p:nvSpPr>
          <p:spPr>
            <a:xfrm>
              <a:off x="2712834" y="4911863"/>
              <a:ext cx="285750" cy="9525"/>
            </a:xfrm>
            <a:custGeom>
              <a:avLst/>
              <a:gdLst>
                <a:gd name="connsiteX0" fmla="*/ 0 w 285750"/>
                <a:gd name="connsiteY0" fmla="*/ 0 h 9525"/>
                <a:gd name="connsiteX1" fmla="*/ 285750 w 28575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0" h="9525">
                  <a:moveTo>
                    <a:pt x="0" y="0"/>
                  </a:moveTo>
                  <a:lnTo>
                    <a:pt x="285750" y="0"/>
                  </a:lnTo>
                </a:path>
              </a:pathLst>
            </a:custGeom>
            <a:ln w="19050" cap="flat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3" name="Freihandform: Form 597">
              <a:extLst>
                <a:ext uri="{FF2B5EF4-FFF2-40B4-BE49-F238E27FC236}">
                  <a16:creationId xmlns:a16="http://schemas.microsoft.com/office/drawing/2014/main" id="{F4A12FA8-D8F6-44F3-8F0D-F8065D4CE2D5}"/>
                </a:ext>
              </a:extLst>
            </p:cNvPr>
            <p:cNvSpPr/>
            <p:nvPr/>
          </p:nvSpPr>
          <p:spPr>
            <a:xfrm>
              <a:off x="2712834" y="5254763"/>
              <a:ext cx="381000" cy="9525"/>
            </a:xfrm>
            <a:custGeom>
              <a:avLst/>
              <a:gdLst>
                <a:gd name="connsiteX0" fmla="*/ 0 w 381000"/>
                <a:gd name="connsiteY0" fmla="*/ 0 h 9525"/>
                <a:gd name="connsiteX1" fmla="*/ 381000 w 38100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0" h="9525">
                  <a:moveTo>
                    <a:pt x="0" y="0"/>
                  </a:moveTo>
                  <a:lnTo>
                    <a:pt x="381000" y="0"/>
                  </a:lnTo>
                </a:path>
              </a:pathLst>
            </a:custGeom>
            <a:ln w="19050" cap="flat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4" name="Freihandform: Form 598">
              <a:extLst>
                <a:ext uri="{FF2B5EF4-FFF2-40B4-BE49-F238E27FC236}">
                  <a16:creationId xmlns:a16="http://schemas.microsoft.com/office/drawing/2014/main" id="{D61116A0-D090-4B50-BA6D-7A049996487C}"/>
                </a:ext>
              </a:extLst>
            </p:cNvPr>
            <p:cNvSpPr/>
            <p:nvPr/>
          </p:nvSpPr>
          <p:spPr>
            <a:xfrm>
              <a:off x="3170034" y="4988062"/>
              <a:ext cx="95250" cy="190500"/>
            </a:xfrm>
            <a:custGeom>
              <a:avLst/>
              <a:gdLst>
                <a:gd name="connsiteX0" fmla="*/ 0 w 95250"/>
                <a:gd name="connsiteY0" fmla="*/ 0 h 190500"/>
                <a:gd name="connsiteX1" fmla="*/ 95250 w 95250"/>
                <a:gd name="connsiteY1" fmla="*/ 95250 h 190500"/>
                <a:gd name="connsiteX2" fmla="*/ 0 w 95250"/>
                <a:gd name="connsiteY2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0" h="190500">
                  <a:moveTo>
                    <a:pt x="0" y="0"/>
                  </a:moveTo>
                  <a:lnTo>
                    <a:pt x="95250" y="95250"/>
                  </a:lnTo>
                  <a:lnTo>
                    <a:pt x="0" y="190500"/>
                  </a:ln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5" name="Freihandform: Form 599">
              <a:extLst>
                <a:ext uri="{FF2B5EF4-FFF2-40B4-BE49-F238E27FC236}">
                  <a16:creationId xmlns:a16="http://schemas.microsoft.com/office/drawing/2014/main" id="{37714D2D-3F4D-4469-975F-600EEA840C4C}"/>
                </a:ext>
              </a:extLst>
            </p:cNvPr>
            <p:cNvSpPr/>
            <p:nvPr/>
          </p:nvSpPr>
          <p:spPr>
            <a:xfrm>
              <a:off x="2903334" y="4816612"/>
              <a:ext cx="95250" cy="190499"/>
            </a:xfrm>
            <a:custGeom>
              <a:avLst/>
              <a:gdLst>
                <a:gd name="connsiteX0" fmla="*/ 0 w 95250"/>
                <a:gd name="connsiteY0" fmla="*/ 0 h 190499"/>
                <a:gd name="connsiteX1" fmla="*/ 95250 w 95250"/>
                <a:gd name="connsiteY1" fmla="*/ 95250 h 190499"/>
                <a:gd name="connsiteX2" fmla="*/ 0 w 95250"/>
                <a:gd name="connsiteY2" fmla="*/ 190500 h 190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0" h="190499">
                  <a:moveTo>
                    <a:pt x="0" y="0"/>
                  </a:moveTo>
                  <a:lnTo>
                    <a:pt x="95250" y="95250"/>
                  </a:lnTo>
                  <a:lnTo>
                    <a:pt x="0" y="190500"/>
                  </a:ln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6" name="Freihandform: Form 600">
              <a:extLst>
                <a:ext uri="{FF2B5EF4-FFF2-40B4-BE49-F238E27FC236}">
                  <a16:creationId xmlns:a16="http://schemas.microsoft.com/office/drawing/2014/main" id="{B2BEF13C-33DF-4B01-A7D9-F1FF98461303}"/>
                </a:ext>
              </a:extLst>
            </p:cNvPr>
            <p:cNvSpPr/>
            <p:nvPr/>
          </p:nvSpPr>
          <p:spPr>
            <a:xfrm>
              <a:off x="2998584" y="5159513"/>
              <a:ext cx="95250" cy="190500"/>
            </a:xfrm>
            <a:custGeom>
              <a:avLst/>
              <a:gdLst>
                <a:gd name="connsiteX0" fmla="*/ 0 w 95250"/>
                <a:gd name="connsiteY0" fmla="*/ 0 h 190500"/>
                <a:gd name="connsiteX1" fmla="*/ 95250 w 95250"/>
                <a:gd name="connsiteY1" fmla="*/ 95250 h 190500"/>
                <a:gd name="connsiteX2" fmla="*/ 0 w 95250"/>
                <a:gd name="connsiteY2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0" h="190500">
                  <a:moveTo>
                    <a:pt x="0" y="0"/>
                  </a:moveTo>
                  <a:lnTo>
                    <a:pt x="95250" y="95250"/>
                  </a:lnTo>
                  <a:lnTo>
                    <a:pt x="0" y="190500"/>
                  </a:ln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08" name="Grafik 26">
            <a:extLst>
              <a:ext uri="{FF2B5EF4-FFF2-40B4-BE49-F238E27FC236}">
                <a16:creationId xmlns:a16="http://schemas.microsoft.com/office/drawing/2014/main" id="{9C0C0728-B0B2-470E-9B58-2DF2455953B4}"/>
              </a:ext>
            </a:extLst>
          </p:cNvPr>
          <p:cNvGrpSpPr>
            <a:grpSpLocks noChangeAspect="1"/>
          </p:cNvGrpSpPr>
          <p:nvPr/>
        </p:nvGrpSpPr>
        <p:grpSpPr>
          <a:xfrm>
            <a:off x="3243781" y="2640015"/>
            <a:ext cx="252000" cy="252000"/>
            <a:chOff x="656358" y="2402205"/>
            <a:chExt cx="571500" cy="571500"/>
          </a:xfrm>
          <a:noFill/>
        </p:grpSpPr>
        <p:sp>
          <p:nvSpPr>
            <p:cNvPr id="109" name="Freihandform: Form 203">
              <a:extLst>
                <a:ext uri="{FF2B5EF4-FFF2-40B4-BE49-F238E27FC236}">
                  <a16:creationId xmlns:a16="http://schemas.microsoft.com/office/drawing/2014/main" id="{EB696607-6EBD-4769-97D6-E89B7F8CB4F6}"/>
                </a:ext>
              </a:extLst>
            </p:cNvPr>
            <p:cNvSpPr/>
            <p:nvPr/>
          </p:nvSpPr>
          <p:spPr>
            <a:xfrm>
              <a:off x="744940" y="2516505"/>
              <a:ext cx="72389" cy="123825"/>
            </a:xfrm>
            <a:custGeom>
              <a:avLst/>
              <a:gdLst>
                <a:gd name="connsiteX0" fmla="*/ 72390 w 72389"/>
                <a:gd name="connsiteY0" fmla="*/ 0 h 123825"/>
                <a:gd name="connsiteX1" fmla="*/ 0 w 72389"/>
                <a:gd name="connsiteY1" fmla="*/ 123825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389" h="123825">
                  <a:moveTo>
                    <a:pt x="72390" y="0"/>
                  </a:moveTo>
                  <a:lnTo>
                    <a:pt x="0" y="123825"/>
                  </a:lnTo>
                </a:path>
              </a:pathLst>
            </a:custGeom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0" name="Freihandform: Form 204">
              <a:extLst>
                <a:ext uri="{FF2B5EF4-FFF2-40B4-BE49-F238E27FC236}">
                  <a16:creationId xmlns:a16="http://schemas.microsoft.com/office/drawing/2014/main" id="{3FA89126-4620-45EE-867A-956FADB1136F}"/>
                </a:ext>
              </a:extLst>
            </p:cNvPr>
            <p:cNvSpPr/>
            <p:nvPr/>
          </p:nvSpPr>
          <p:spPr>
            <a:xfrm>
              <a:off x="901150" y="2454592"/>
              <a:ext cx="165735" cy="74295"/>
            </a:xfrm>
            <a:custGeom>
              <a:avLst/>
              <a:gdLst>
                <a:gd name="connsiteX0" fmla="*/ 165735 w 165735"/>
                <a:gd name="connsiteY0" fmla="*/ 74295 h 74295"/>
                <a:gd name="connsiteX1" fmla="*/ 0 w 165735"/>
                <a:gd name="connsiteY1" fmla="*/ 0 h 74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5735" h="74295">
                  <a:moveTo>
                    <a:pt x="165735" y="74295"/>
                  </a:moveTo>
                  <a:lnTo>
                    <a:pt x="0" y="0"/>
                  </a:lnTo>
                </a:path>
              </a:pathLst>
            </a:custGeom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1" name="Freihandform: Form 205">
              <a:extLst>
                <a:ext uri="{FF2B5EF4-FFF2-40B4-BE49-F238E27FC236}">
                  <a16:creationId xmlns:a16="http://schemas.microsoft.com/office/drawing/2014/main" id="{8CF68063-38D3-40EF-B5CA-96CC094CF749}"/>
                </a:ext>
              </a:extLst>
            </p:cNvPr>
            <p:cNvSpPr/>
            <p:nvPr/>
          </p:nvSpPr>
          <p:spPr>
            <a:xfrm>
              <a:off x="925915" y="2651760"/>
              <a:ext cx="165735" cy="167639"/>
            </a:xfrm>
            <a:custGeom>
              <a:avLst/>
              <a:gdLst>
                <a:gd name="connsiteX0" fmla="*/ 165735 w 165735"/>
                <a:gd name="connsiteY0" fmla="*/ 0 h 167639"/>
                <a:gd name="connsiteX1" fmla="*/ 0 w 165735"/>
                <a:gd name="connsiteY1" fmla="*/ 167640 h 167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5735" h="167639">
                  <a:moveTo>
                    <a:pt x="165735" y="0"/>
                  </a:moveTo>
                  <a:lnTo>
                    <a:pt x="0" y="167640"/>
                  </a:lnTo>
                </a:path>
              </a:pathLst>
            </a:custGeom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2" name="Freihandform: Form 206">
              <a:extLst>
                <a:ext uri="{FF2B5EF4-FFF2-40B4-BE49-F238E27FC236}">
                  <a16:creationId xmlns:a16="http://schemas.microsoft.com/office/drawing/2014/main" id="{9E40990D-8C70-45DB-A4E0-8E53B108EF39}"/>
                </a:ext>
              </a:extLst>
            </p:cNvPr>
            <p:cNvSpPr/>
            <p:nvPr/>
          </p:nvSpPr>
          <p:spPr>
            <a:xfrm>
              <a:off x="1143085" y="2629852"/>
              <a:ext cx="20002" cy="214312"/>
            </a:xfrm>
            <a:custGeom>
              <a:avLst/>
              <a:gdLst>
                <a:gd name="connsiteX0" fmla="*/ 20003 w 20002"/>
                <a:gd name="connsiteY0" fmla="*/ 0 h 214312"/>
                <a:gd name="connsiteX1" fmla="*/ 0 w 20002"/>
                <a:gd name="connsiteY1" fmla="*/ 214313 h 214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002" h="214312">
                  <a:moveTo>
                    <a:pt x="20003" y="0"/>
                  </a:moveTo>
                  <a:lnTo>
                    <a:pt x="0" y="214313"/>
                  </a:lnTo>
                </a:path>
              </a:pathLst>
            </a:custGeom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3" name="Freihandform: Form 207">
              <a:extLst>
                <a:ext uri="{FF2B5EF4-FFF2-40B4-BE49-F238E27FC236}">
                  <a16:creationId xmlns:a16="http://schemas.microsoft.com/office/drawing/2014/main" id="{44C7F89A-3243-42F3-A5F8-0C5AA589795A}"/>
                </a:ext>
              </a:extLst>
            </p:cNvPr>
            <p:cNvSpPr/>
            <p:nvPr/>
          </p:nvSpPr>
          <p:spPr>
            <a:xfrm>
              <a:off x="768753" y="2586990"/>
              <a:ext cx="346710" cy="87630"/>
            </a:xfrm>
            <a:custGeom>
              <a:avLst/>
              <a:gdLst>
                <a:gd name="connsiteX0" fmla="*/ 0 w 346710"/>
                <a:gd name="connsiteY0" fmla="*/ 87630 h 87630"/>
                <a:gd name="connsiteX1" fmla="*/ 346710 w 346710"/>
                <a:gd name="connsiteY1" fmla="*/ 0 h 87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6710" h="87630">
                  <a:moveTo>
                    <a:pt x="0" y="87630"/>
                  </a:moveTo>
                  <a:lnTo>
                    <a:pt x="346710" y="0"/>
                  </a:lnTo>
                </a:path>
              </a:pathLst>
            </a:custGeom>
            <a:ln w="19050" cap="flat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4" name="Freihandform: Form 208">
              <a:extLst>
                <a:ext uri="{FF2B5EF4-FFF2-40B4-BE49-F238E27FC236}">
                  <a16:creationId xmlns:a16="http://schemas.microsoft.com/office/drawing/2014/main" id="{EA306DE9-78D1-4A80-83BF-CFAC0A0BBCFD}"/>
                </a:ext>
              </a:extLst>
            </p:cNvPr>
            <p:cNvSpPr/>
            <p:nvPr/>
          </p:nvSpPr>
          <p:spPr>
            <a:xfrm>
              <a:off x="656358" y="2630805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noFill/>
            <a:ln w="19050" cap="flat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5" name="Freihandform: Form 209">
              <a:extLst>
                <a:ext uri="{FF2B5EF4-FFF2-40B4-BE49-F238E27FC236}">
                  <a16:creationId xmlns:a16="http://schemas.microsoft.com/office/drawing/2014/main" id="{8D5A44FB-F5C8-465B-97E9-B84758992D07}"/>
                </a:ext>
              </a:extLst>
            </p:cNvPr>
            <p:cNvSpPr/>
            <p:nvPr/>
          </p:nvSpPr>
          <p:spPr>
            <a:xfrm>
              <a:off x="1113558" y="2516505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noFill/>
            <a:ln w="19050" cap="flat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6" name="Freihandform: Form 210">
              <a:extLst>
                <a:ext uri="{FF2B5EF4-FFF2-40B4-BE49-F238E27FC236}">
                  <a16:creationId xmlns:a16="http://schemas.microsoft.com/office/drawing/2014/main" id="{9224B712-AF25-434E-B3C0-3CBAE8F10A58}"/>
                </a:ext>
              </a:extLst>
            </p:cNvPr>
            <p:cNvSpPr/>
            <p:nvPr/>
          </p:nvSpPr>
          <p:spPr>
            <a:xfrm>
              <a:off x="827808" y="2402205"/>
              <a:ext cx="76200" cy="76200"/>
            </a:xfrm>
            <a:custGeom>
              <a:avLst/>
              <a:gdLst>
                <a:gd name="connsiteX0" fmla="*/ 76200 w 76200"/>
                <a:gd name="connsiteY0" fmla="*/ 38100 h 76200"/>
                <a:gd name="connsiteX1" fmla="*/ 38100 w 76200"/>
                <a:gd name="connsiteY1" fmla="*/ 76200 h 76200"/>
                <a:gd name="connsiteX2" fmla="*/ 0 w 76200"/>
                <a:gd name="connsiteY2" fmla="*/ 38100 h 76200"/>
                <a:gd name="connsiteX3" fmla="*/ 38100 w 76200"/>
                <a:gd name="connsiteY3" fmla="*/ 0 h 76200"/>
                <a:gd name="connsiteX4" fmla="*/ 76200 w 76200"/>
                <a:gd name="connsiteY4" fmla="*/ 381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6200" y="38100"/>
                  </a:moveTo>
                  <a:cubicBezTo>
                    <a:pt x="76200" y="59142"/>
                    <a:pt x="59142" y="76200"/>
                    <a:pt x="38100" y="76200"/>
                  </a:cubicBezTo>
                  <a:cubicBezTo>
                    <a:pt x="17058" y="76200"/>
                    <a:pt x="0" y="59142"/>
                    <a:pt x="0" y="38100"/>
                  </a:cubicBezTo>
                  <a:cubicBezTo>
                    <a:pt x="0" y="17058"/>
                    <a:pt x="17058" y="0"/>
                    <a:pt x="38100" y="0"/>
                  </a:cubicBezTo>
                  <a:cubicBezTo>
                    <a:pt x="59142" y="0"/>
                    <a:pt x="76200" y="17058"/>
                    <a:pt x="76200" y="38100"/>
                  </a:cubicBezTo>
                  <a:close/>
                </a:path>
              </a:pathLst>
            </a:custGeom>
            <a:noFill/>
            <a:ln w="19050" cap="flat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7" name="Freihandform: Form 211">
              <a:extLst>
                <a:ext uri="{FF2B5EF4-FFF2-40B4-BE49-F238E27FC236}">
                  <a16:creationId xmlns:a16="http://schemas.microsoft.com/office/drawing/2014/main" id="{ECA00B15-1B96-4028-AF83-EB07731AF51C}"/>
                </a:ext>
              </a:extLst>
            </p:cNvPr>
            <p:cNvSpPr/>
            <p:nvPr/>
          </p:nvSpPr>
          <p:spPr>
            <a:xfrm>
              <a:off x="827808" y="2802255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noFill/>
            <a:ln w="19050" cap="flat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18" name="Freihandform: Form 212">
              <a:extLst>
                <a:ext uri="{FF2B5EF4-FFF2-40B4-BE49-F238E27FC236}">
                  <a16:creationId xmlns:a16="http://schemas.microsoft.com/office/drawing/2014/main" id="{E397B3B6-041E-4F27-820A-CF53FD8E424F}"/>
                </a:ext>
              </a:extLst>
            </p:cNvPr>
            <p:cNvSpPr/>
            <p:nvPr/>
          </p:nvSpPr>
          <p:spPr>
            <a:xfrm>
              <a:off x="1094508" y="2897505"/>
              <a:ext cx="76200" cy="76200"/>
            </a:xfrm>
            <a:custGeom>
              <a:avLst/>
              <a:gdLst>
                <a:gd name="connsiteX0" fmla="*/ 76200 w 76200"/>
                <a:gd name="connsiteY0" fmla="*/ 38100 h 76200"/>
                <a:gd name="connsiteX1" fmla="*/ 38100 w 76200"/>
                <a:gd name="connsiteY1" fmla="*/ 76200 h 76200"/>
                <a:gd name="connsiteX2" fmla="*/ 0 w 76200"/>
                <a:gd name="connsiteY2" fmla="*/ 38100 h 76200"/>
                <a:gd name="connsiteX3" fmla="*/ 38100 w 76200"/>
                <a:gd name="connsiteY3" fmla="*/ 0 h 76200"/>
                <a:gd name="connsiteX4" fmla="*/ 76200 w 76200"/>
                <a:gd name="connsiteY4" fmla="*/ 381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6200" y="38100"/>
                  </a:moveTo>
                  <a:cubicBezTo>
                    <a:pt x="76200" y="59142"/>
                    <a:pt x="59142" y="76200"/>
                    <a:pt x="38100" y="76200"/>
                  </a:cubicBezTo>
                  <a:cubicBezTo>
                    <a:pt x="17058" y="76200"/>
                    <a:pt x="0" y="59142"/>
                    <a:pt x="0" y="38100"/>
                  </a:cubicBezTo>
                  <a:cubicBezTo>
                    <a:pt x="0" y="17058"/>
                    <a:pt x="17058" y="0"/>
                    <a:pt x="38100" y="0"/>
                  </a:cubicBezTo>
                  <a:cubicBezTo>
                    <a:pt x="59142" y="0"/>
                    <a:pt x="76200" y="17058"/>
                    <a:pt x="76200" y="38100"/>
                  </a:cubicBezTo>
                  <a:close/>
                </a:path>
              </a:pathLst>
            </a:custGeom>
            <a:noFill/>
            <a:ln w="19050" cap="flat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20" name="Foliennummernplatzhalter 4">
            <a:extLst>
              <a:ext uri="{FF2B5EF4-FFF2-40B4-BE49-F238E27FC236}">
                <a16:creationId xmlns:a16="http://schemas.microsoft.com/office/drawing/2014/main" id="{68707BA2-871D-4D24-86D4-B542C645B1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776662" y="4963500"/>
            <a:ext cx="1080000" cy="180000"/>
          </a:xfrm>
        </p:spPr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03746F-B42A-474D-94FA-02D6826DE614}" type="slidenum">
              <a:rPr kumimoji="0" lang="de-DE" sz="6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6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7" name="Fußzeilenplatzhalter 3">
            <a:extLst>
              <a:ext uri="{FF2B5EF4-FFF2-40B4-BE49-F238E27FC236}">
                <a16:creationId xmlns:a16="http://schemas.microsoft.com/office/drawing/2014/main" id="{F291A66A-5C89-4582-A2D2-37952070AF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72000" y="4963500"/>
            <a:ext cx="3600000" cy="180000"/>
          </a:xfrm>
        </p:spPr>
        <p:txBody>
          <a:bodyPr/>
          <a:lstStyle/>
          <a:p>
            <a:pPr lvl="0">
              <a:defRPr/>
            </a:pPr>
            <a:r>
              <a:rPr lang="de-DE" cap="all" dirty="0">
                <a:solidFill>
                  <a:srgbClr val="000000"/>
                </a:solidFill>
              </a:rPr>
              <a:t>Öffentlich</a:t>
            </a:r>
          </a:p>
        </p:txBody>
      </p:sp>
    </p:spTree>
    <p:extLst>
      <p:ext uri="{BB962C8B-B14F-4D97-AF65-F5344CB8AC3E}">
        <p14:creationId xmlns:p14="http://schemas.microsoft.com/office/powerpoint/2010/main" val="23610737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3" name="Grafik 292">
            <a:extLst>
              <a:ext uri="{FF2B5EF4-FFF2-40B4-BE49-F238E27FC236}">
                <a16:creationId xmlns:a16="http://schemas.microsoft.com/office/drawing/2014/main" id="{8A32C19F-D59D-4CD1-A146-2405A6E8F9E0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4868" y="696029"/>
            <a:ext cx="1160751" cy="559209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024899E-B151-EA46-9FEC-FA7A783C5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7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B46502A-3066-2441-A10A-5810F0284C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Innovationslandschaft GB BMVG – Unser Ökosystem</a:t>
            </a:r>
          </a:p>
        </p:txBody>
      </p: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17BC10E6-C463-4C7A-B1F1-48E82DBA377C}"/>
              </a:ext>
            </a:extLst>
          </p:cNvPr>
          <p:cNvGrpSpPr>
            <a:grpSpLocks noChangeAspect="1"/>
          </p:cNvGrpSpPr>
          <p:nvPr/>
        </p:nvGrpSpPr>
        <p:grpSpPr>
          <a:xfrm>
            <a:off x="1737538" y="1410383"/>
            <a:ext cx="5563828" cy="3414355"/>
            <a:chOff x="1864131" y="1375185"/>
            <a:chExt cx="8050336" cy="4940248"/>
          </a:xfrm>
        </p:grpSpPr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1CB17A23-23C2-4D98-8004-E217874AB7AA}"/>
                </a:ext>
              </a:extLst>
            </p:cNvPr>
            <p:cNvGrpSpPr/>
            <p:nvPr/>
          </p:nvGrpSpPr>
          <p:grpSpPr>
            <a:xfrm>
              <a:off x="2098441" y="1743849"/>
              <a:ext cx="7705717" cy="4313808"/>
              <a:chOff x="2417439" y="1103449"/>
              <a:chExt cx="7778311" cy="4354447"/>
            </a:xfrm>
          </p:grpSpPr>
          <p:cxnSp>
            <p:nvCxnSpPr>
              <p:cNvPr id="88" name="Gerade Verbindung 300">
                <a:extLst>
                  <a:ext uri="{FF2B5EF4-FFF2-40B4-BE49-F238E27FC236}">
                    <a16:creationId xmlns:a16="http://schemas.microsoft.com/office/drawing/2014/main" id="{971639AA-1EC9-4831-94A8-228BF117A3AE}"/>
                  </a:ext>
                </a:extLst>
              </p:cNvPr>
              <p:cNvCxnSpPr/>
              <p:nvPr/>
            </p:nvCxnSpPr>
            <p:spPr bwMode="gray">
              <a:xfrm flipV="1">
                <a:off x="6051044" y="1713563"/>
                <a:ext cx="289452" cy="1236135"/>
              </a:xfrm>
              <a:prstGeom prst="line">
                <a:avLst/>
              </a:prstGeom>
              <a:noFill/>
              <a:ln w="3175" cap="rnd" cmpd="sng" algn="ctr">
                <a:solidFill>
                  <a:srgbClr val="485C69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89" name="Gerade Verbindung 399">
                <a:extLst>
                  <a:ext uri="{FF2B5EF4-FFF2-40B4-BE49-F238E27FC236}">
                    <a16:creationId xmlns:a16="http://schemas.microsoft.com/office/drawing/2014/main" id="{A642A7CB-8772-4A5D-9095-09E68FC3BFDD}"/>
                  </a:ext>
                </a:extLst>
              </p:cNvPr>
              <p:cNvCxnSpPr/>
              <p:nvPr/>
            </p:nvCxnSpPr>
            <p:spPr bwMode="gray">
              <a:xfrm flipH="1" flipV="1">
                <a:off x="7201142" y="4122678"/>
                <a:ext cx="116966" cy="1190241"/>
              </a:xfrm>
              <a:prstGeom prst="line">
                <a:avLst/>
              </a:prstGeom>
              <a:noFill/>
              <a:ln w="3175" cap="rnd" cmpd="sng" algn="ctr">
                <a:solidFill>
                  <a:srgbClr val="485C69"/>
                </a:solidFill>
                <a:prstDash val="solid"/>
                <a:miter lim="800000"/>
              </a:ln>
              <a:effectLst/>
            </p:spPr>
          </p:cxnSp>
          <p:grpSp>
            <p:nvGrpSpPr>
              <p:cNvPr id="90" name="Gruppieren 89">
                <a:extLst>
                  <a:ext uri="{FF2B5EF4-FFF2-40B4-BE49-F238E27FC236}">
                    <a16:creationId xmlns:a16="http://schemas.microsoft.com/office/drawing/2014/main" id="{4F02E450-65A6-475D-A7BE-1975BB37AB0A}"/>
                  </a:ext>
                </a:extLst>
              </p:cNvPr>
              <p:cNvGrpSpPr/>
              <p:nvPr/>
            </p:nvGrpSpPr>
            <p:grpSpPr>
              <a:xfrm>
                <a:off x="2417439" y="1103449"/>
                <a:ext cx="7778311" cy="4354447"/>
                <a:chOff x="2417439" y="1103449"/>
                <a:chExt cx="7778311" cy="4354447"/>
              </a:xfrm>
            </p:grpSpPr>
            <p:cxnSp>
              <p:nvCxnSpPr>
                <p:cNvPr id="91" name="Gerade Verbindung 339">
                  <a:extLst>
                    <a:ext uri="{FF2B5EF4-FFF2-40B4-BE49-F238E27FC236}">
                      <a16:creationId xmlns:a16="http://schemas.microsoft.com/office/drawing/2014/main" id="{A7AE824A-D2D6-4A1C-8ED6-9791706F9215}"/>
                    </a:ext>
                  </a:extLst>
                </p:cNvPr>
                <p:cNvCxnSpPr>
                  <a:stCxn id="78" idx="3"/>
                  <a:endCxn id="87" idx="3"/>
                </p:cNvCxnSpPr>
                <p:nvPr/>
              </p:nvCxnSpPr>
              <p:spPr bwMode="gray">
                <a:xfrm>
                  <a:off x="8036260" y="3143437"/>
                  <a:ext cx="1572997" cy="133019"/>
                </a:xfrm>
                <a:prstGeom prst="line">
                  <a:avLst/>
                </a:prstGeom>
                <a:noFill/>
                <a:ln w="3175" cap="rnd" cmpd="sng" algn="ctr">
                  <a:solidFill>
                    <a:srgbClr val="485C69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92" name="Gerade Verbindung 378">
                  <a:extLst>
                    <a:ext uri="{FF2B5EF4-FFF2-40B4-BE49-F238E27FC236}">
                      <a16:creationId xmlns:a16="http://schemas.microsoft.com/office/drawing/2014/main" id="{BF22AF78-BFA6-4F38-93BC-36EE357BDB0E}"/>
                    </a:ext>
                  </a:extLst>
                </p:cNvPr>
                <p:cNvCxnSpPr>
                  <a:stCxn id="85" idx="3"/>
                  <a:endCxn id="87" idx="3"/>
                </p:cNvCxnSpPr>
                <p:nvPr>
                  <p:custDataLst>
                    <p:tags r:id="rId35"/>
                  </p:custDataLst>
                </p:nvPr>
              </p:nvCxnSpPr>
              <p:spPr bwMode="gray">
                <a:xfrm flipH="1">
                  <a:off x="9609257" y="2527135"/>
                  <a:ext cx="293247" cy="749321"/>
                </a:xfrm>
                <a:prstGeom prst="line">
                  <a:avLst/>
                </a:prstGeom>
                <a:noFill/>
                <a:ln w="3175" cap="rnd" cmpd="sng" algn="ctr">
                  <a:solidFill>
                    <a:srgbClr val="485C69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93" name="Gerade Verbindung 411">
                  <a:extLst>
                    <a:ext uri="{FF2B5EF4-FFF2-40B4-BE49-F238E27FC236}">
                      <a16:creationId xmlns:a16="http://schemas.microsoft.com/office/drawing/2014/main" id="{C896C753-527D-4A49-B04B-71EB9B143163}"/>
                    </a:ext>
                  </a:extLst>
                </p:cNvPr>
                <p:cNvCxnSpPr/>
                <p:nvPr/>
              </p:nvCxnSpPr>
              <p:spPr bwMode="gray">
                <a:xfrm flipV="1">
                  <a:off x="6340468" y="4122678"/>
                  <a:ext cx="860675" cy="113710"/>
                </a:xfrm>
                <a:prstGeom prst="line">
                  <a:avLst/>
                </a:prstGeom>
                <a:noFill/>
                <a:ln w="3175" cap="rnd" cmpd="sng" algn="ctr">
                  <a:solidFill>
                    <a:srgbClr val="485C69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94" name="Gerade Verbindung 414">
                  <a:extLst>
                    <a:ext uri="{FF2B5EF4-FFF2-40B4-BE49-F238E27FC236}">
                      <a16:creationId xmlns:a16="http://schemas.microsoft.com/office/drawing/2014/main" id="{9694A61D-8212-414D-999E-43D8F3B52A71}"/>
                    </a:ext>
                  </a:extLst>
                </p:cNvPr>
                <p:cNvCxnSpPr/>
                <p:nvPr/>
              </p:nvCxnSpPr>
              <p:spPr bwMode="gray">
                <a:xfrm flipV="1">
                  <a:off x="5652783" y="4236387"/>
                  <a:ext cx="687685" cy="450755"/>
                </a:xfrm>
                <a:prstGeom prst="line">
                  <a:avLst/>
                </a:prstGeom>
                <a:noFill/>
                <a:ln w="3175" cap="rnd" cmpd="sng" algn="ctr">
                  <a:solidFill>
                    <a:srgbClr val="485C69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95" name="Gerade Verbindung 421">
                  <a:extLst>
                    <a:ext uri="{FF2B5EF4-FFF2-40B4-BE49-F238E27FC236}">
                      <a16:creationId xmlns:a16="http://schemas.microsoft.com/office/drawing/2014/main" id="{820C1539-F5D7-4A32-9A11-6A29624DB5EB}"/>
                    </a:ext>
                  </a:extLst>
                </p:cNvPr>
                <p:cNvCxnSpPr/>
                <p:nvPr>
                  <p:custDataLst>
                    <p:tags r:id="rId36"/>
                  </p:custDataLst>
                </p:nvPr>
              </p:nvCxnSpPr>
              <p:spPr bwMode="gray">
                <a:xfrm flipH="1" flipV="1">
                  <a:off x="3901121" y="3983863"/>
                  <a:ext cx="1016218" cy="75416"/>
                </a:xfrm>
                <a:prstGeom prst="line">
                  <a:avLst/>
                </a:prstGeom>
                <a:noFill/>
                <a:ln w="3175" cap="rnd" cmpd="sng" algn="ctr">
                  <a:solidFill>
                    <a:srgbClr val="485C69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96" name="Gerade Verbindung 436">
                  <a:extLst>
                    <a:ext uri="{FF2B5EF4-FFF2-40B4-BE49-F238E27FC236}">
                      <a16:creationId xmlns:a16="http://schemas.microsoft.com/office/drawing/2014/main" id="{FB717F95-78FB-428F-A003-CC09F30A2531}"/>
                    </a:ext>
                  </a:extLst>
                </p:cNvPr>
                <p:cNvCxnSpPr/>
                <p:nvPr>
                  <p:custDataLst>
                    <p:tags r:id="rId37"/>
                  </p:custDataLst>
                </p:nvPr>
              </p:nvCxnSpPr>
              <p:spPr bwMode="gray">
                <a:xfrm flipV="1">
                  <a:off x="3310401" y="4876729"/>
                  <a:ext cx="812219" cy="61831"/>
                </a:xfrm>
                <a:prstGeom prst="line">
                  <a:avLst/>
                </a:prstGeom>
                <a:noFill/>
                <a:ln w="3175" cap="rnd" cmpd="sng" algn="ctr">
                  <a:solidFill>
                    <a:srgbClr val="485C69"/>
                  </a:solidFill>
                  <a:prstDash val="solid"/>
                  <a:miter lim="800000"/>
                </a:ln>
                <a:effectLst/>
              </p:spPr>
            </p:cxnSp>
            <p:grpSp>
              <p:nvGrpSpPr>
                <p:cNvPr id="97" name="Gruppieren 96">
                  <a:extLst>
                    <a:ext uri="{FF2B5EF4-FFF2-40B4-BE49-F238E27FC236}">
                      <a16:creationId xmlns:a16="http://schemas.microsoft.com/office/drawing/2014/main" id="{344AFCFD-4820-4E8C-86C7-5C18B598C6FF}"/>
                    </a:ext>
                  </a:extLst>
                </p:cNvPr>
                <p:cNvGrpSpPr/>
                <p:nvPr/>
              </p:nvGrpSpPr>
              <p:grpSpPr>
                <a:xfrm>
                  <a:off x="2417439" y="1103449"/>
                  <a:ext cx="7778311" cy="4354447"/>
                  <a:chOff x="2417439" y="1103449"/>
                  <a:chExt cx="7778311" cy="4354447"/>
                </a:xfrm>
              </p:grpSpPr>
              <p:grpSp>
                <p:nvGrpSpPr>
                  <p:cNvPr id="100" name="Gruppieren 99">
                    <a:extLst>
                      <a:ext uri="{FF2B5EF4-FFF2-40B4-BE49-F238E27FC236}">
                        <a16:creationId xmlns:a16="http://schemas.microsoft.com/office/drawing/2014/main" id="{24F301D1-4A13-4590-981F-68B8F2B1FCD9}"/>
                      </a:ext>
                    </a:extLst>
                  </p:cNvPr>
                  <p:cNvGrpSpPr/>
                  <p:nvPr/>
                </p:nvGrpSpPr>
                <p:grpSpPr>
                  <a:xfrm>
                    <a:off x="2417439" y="1103449"/>
                    <a:ext cx="7778311" cy="4354447"/>
                    <a:chOff x="2417439" y="1103449"/>
                    <a:chExt cx="7778311" cy="4354447"/>
                  </a:xfrm>
                </p:grpSpPr>
                <p:cxnSp>
                  <p:nvCxnSpPr>
                    <p:cNvPr id="113" name="Gerade Verbindung 248">
                      <a:extLst>
                        <a:ext uri="{FF2B5EF4-FFF2-40B4-BE49-F238E27FC236}">
                          <a16:creationId xmlns:a16="http://schemas.microsoft.com/office/drawing/2014/main" id="{B15B0593-A77A-43B2-B35E-EFF9DB022D7B}"/>
                        </a:ext>
                      </a:extLst>
                    </p:cNvPr>
                    <p:cNvCxnSpPr/>
                    <p:nvPr>
                      <p:custDataLst>
                        <p:tags r:id="rId45"/>
                      </p:custDataLst>
                    </p:nvPr>
                  </p:nvCxnSpPr>
                  <p:spPr bwMode="gray">
                    <a:xfrm>
                      <a:off x="3783635" y="1861732"/>
                      <a:ext cx="780783" cy="798456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14" name="Gerade Verbindung 249">
                      <a:extLst>
                        <a:ext uri="{FF2B5EF4-FFF2-40B4-BE49-F238E27FC236}">
                          <a16:creationId xmlns:a16="http://schemas.microsoft.com/office/drawing/2014/main" id="{1DFE37A6-3675-489C-9B78-CA4C07A408D4}"/>
                        </a:ext>
                      </a:extLst>
                    </p:cNvPr>
                    <p:cNvCxnSpPr/>
                    <p:nvPr/>
                  </p:nvCxnSpPr>
                  <p:spPr bwMode="gray">
                    <a:xfrm flipH="1">
                      <a:off x="3366076" y="1861732"/>
                      <a:ext cx="417559" cy="1256062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15" name="Gerade Verbindung 255">
                      <a:extLst>
                        <a:ext uri="{FF2B5EF4-FFF2-40B4-BE49-F238E27FC236}">
                          <a16:creationId xmlns:a16="http://schemas.microsoft.com/office/drawing/2014/main" id="{4BA8F1D6-A043-4679-8425-B97B4DA94D01}"/>
                        </a:ext>
                      </a:extLst>
                    </p:cNvPr>
                    <p:cNvCxnSpPr/>
                    <p:nvPr>
                      <p:custDataLst>
                        <p:tags r:id="rId46"/>
                      </p:custDataLst>
                    </p:nvPr>
                  </p:nvCxnSpPr>
                  <p:spPr bwMode="gray">
                    <a:xfrm flipH="1">
                      <a:off x="2417439" y="2582810"/>
                      <a:ext cx="445396" cy="1394023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16" name="Gerade Verbindung 258">
                      <a:extLst>
                        <a:ext uri="{FF2B5EF4-FFF2-40B4-BE49-F238E27FC236}">
                          <a16:creationId xmlns:a16="http://schemas.microsoft.com/office/drawing/2014/main" id="{B8B8FB1A-969B-4EAD-83CD-62C4EFA61F55}"/>
                        </a:ext>
                      </a:extLst>
                    </p:cNvPr>
                    <p:cNvCxnSpPr/>
                    <p:nvPr/>
                  </p:nvCxnSpPr>
                  <p:spPr bwMode="gray">
                    <a:xfrm flipH="1" flipV="1">
                      <a:off x="3366075" y="3117795"/>
                      <a:ext cx="535046" cy="866069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17" name="Gerade Verbindung 270">
                      <a:extLst>
                        <a:ext uri="{FF2B5EF4-FFF2-40B4-BE49-F238E27FC236}">
                          <a16:creationId xmlns:a16="http://schemas.microsoft.com/office/drawing/2014/main" id="{114959C8-AE41-4AE9-9B71-815DB4ECD6C7}"/>
                        </a:ext>
                      </a:extLst>
                    </p:cNvPr>
                    <p:cNvCxnSpPr/>
                    <p:nvPr/>
                  </p:nvCxnSpPr>
                  <p:spPr bwMode="gray">
                    <a:xfrm flipH="1">
                      <a:off x="2417439" y="3117794"/>
                      <a:ext cx="948636" cy="859038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18" name="Gerade Verbindung 276">
                      <a:extLst>
                        <a:ext uri="{FF2B5EF4-FFF2-40B4-BE49-F238E27FC236}">
                          <a16:creationId xmlns:a16="http://schemas.microsoft.com/office/drawing/2014/main" id="{488C6D8C-EA87-4BDC-8ED4-C8E33DD7E569}"/>
                        </a:ext>
                      </a:extLst>
                    </p:cNvPr>
                    <p:cNvCxnSpPr/>
                    <p:nvPr/>
                  </p:nvCxnSpPr>
                  <p:spPr bwMode="gray">
                    <a:xfrm flipH="1" flipV="1">
                      <a:off x="5091284" y="1444173"/>
                      <a:ext cx="959761" cy="1505524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19" name="Gerade Verbindung 279">
                      <a:extLst>
                        <a:ext uri="{FF2B5EF4-FFF2-40B4-BE49-F238E27FC236}">
                          <a16:creationId xmlns:a16="http://schemas.microsoft.com/office/drawing/2014/main" id="{0240169D-8397-4C66-8D36-73341CB1B94B}"/>
                        </a:ext>
                      </a:extLst>
                    </p:cNvPr>
                    <p:cNvCxnSpPr/>
                    <p:nvPr>
                      <p:custDataLst>
                        <p:tags r:id="rId47"/>
                      </p:custDataLst>
                    </p:nvPr>
                  </p:nvCxnSpPr>
                  <p:spPr bwMode="gray">
                    <a:xfrm flipH="1">
                      <a:off x="3783635" y="1444173"/>
                      <a:ext cx="1307649" cy="417559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20" name="Gerade Verbindung 282">
                      <a:extLst>
                        <a:ext uri="{FF2B5EF4-FFF2-40B4-BE49-F238E27FC236}">
                          <a16:creationId xmlns:a16="http://schemas.microsoft.com/office/drawing/2014/main" id="{E92476A4-36A7-4B1D-82F2-25D42F8B9516}"/>
                        </a:ext>
                      </a:extLst>
                    </p:cNvPr>
                    <p:cNvCxnSpPr>
                      <a:endCxn id="78" idx="3"/>
                    </p:cNvCxnSpPr>
                    <p:nvPr/>
                  </p:nvCxnSpPr>
                  <p:spPr bwMode="gray">
                    <a:xfrm>
                      <a:off x="6051045" y="2949697"/>
                      <a:ext cx="1985215" cy="193739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21" name="Gerade Verbindung 285">
                      <a:extLst>
                        <a:ext uri="{FF2B5EF4-FFF2-40B4-BE49-F238E27FC236}">
                          <a16:creationId xmlns:a16="http://schemas.microsoft.com/office/drawing/2014/main" id="{973047EA-5FA8-4E3F-8BD4-C0A5FF665FD2}"/>
                        </a:ext>
                      </a:extLst>
                    </p:cNvPr>
                    <p:cNvCxnSpPr/>
                    <p:nvPr/>
                  </p:nvCxnSpPr>
                  <p:spPr bwMode="gray">
                    <a:xfrm>
                      <a:off x="6051044" y="2949697"/>
                      <a:ext cx="1150098" cy="1172980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22" name="Gerade Verbindung 288">
                      <a:extLst>
                        <a:ext uri="{FF2B5EF4-FFF2-40B4-BE49-F238E27FC236}">
                          <a16:creationId xmlns:a16="http://schemas.microsoft.com/office/drawing/2014/main" id="{BEA97D60-4043-4C79-855A-3B4A40955B8E}"/>
                        </a:ext>
                      </a:extLst>
                    </p:cNvPr>
                    <p:cNvCxnSpPr/>
                    <p:nvPr/>
                  </p:nvCxnSpPr>
                  <p:spPr bwMode="gray">
                    <a:xfrm>
                      <a:off x="6051044" y="2949699"/>
                      <a:ext cx="289423" cy="1286690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23" name="Gerade Verbindung 291">
                      <a:extLst>
                        <a:ext uri="{FF2B5EF4-FFF2-40B4-BE49-F238E27FC236}">
                          <a16:creationId xmlns:a16="http://schemas.microsoft.com/office/drawing/2014/main" id="{68D8D636-6601-4D2C-BC92-1D0F4C020D07}"/>
                        </a:ext>
                      </a:extLst>
                    </p:cNvPr>
                    <p:cNvCxnSpPr/>
                    <p:nvPr/>
                  </p:nvCxnSpPr>
                  <p:spPr bwMode="gray">
                    <a:xfrm flipH="1">
                      <a:off x="4917339" y="2949697"/>
                      <a:ext cx="1133705" cy="1109582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24" name="Gerade Verbindung 294">
                      <a:extLst>
                        <a:ext uri="{FF2B5EF4-FFF2-40B4-BE49-F238E27FC236}">
                          <a16:creationId xmlns:a16="http://schemas.microsoft.com/office/drawing/2014/main" id="{7B465851-01D7-41EB-85CD-25DA142784B3}"/>
                        </a:ext>
                      </a:extLst>
                    </p:cNvPr>
                    <p:cNvCxnSpPr/>
                    <p:nvPr/>
                  </p:nvCxnSpPr>
                  <p:spPr bwMode="gray">
                    <a:xfrm flipH="1">
                      <a:off x="5652782" y="2949699"/>
                      <a:ext cx="398262" cy="1737445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25" name="Gerade Verbindung 297">
                      <a:extLst>
                        <a:ext uri="{FF2B5EF4-FFF2-40B4-BE49-F238E27FC236}">
                          <a16:creationId xmlns:a16="http://schemas.microsoft.com/office/drawing/2014/main" id="{8AF277EA-753B-497E-BE36-7B1A9627B04F}"/>
                        </a:ext>
                      </a:extLst>
                    </p:cNvPr>
                    <p:cNvCxnSpPr/>
                    <p:nvPr>
                      <p:custDataLst>
                        <p:tags r:id="rId48"/>
                      </p:custDataLst>
                    </p:nvPr>
                  </p:nvCxnSpPr>
                  <p:spPr bwMode="gray">
                    <a:xfrm flipV="1">
                      <a:off x="6051045" y="2219560"/>
                      <a:ext cx="1221722" cy="730137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26" name="Gerade Verbindung 303">
                      <a:extLst>
                        <a:ext uri="{FF2B5EF4-FFF2-40B4-BE49-F238E27FC236}">
                          <a16:creationId xmlns:a16="http://schemas.microsoft.com/office/drawing/2014/main" id="{D51782F2-6BF2-43B9-96CD-B36781ACD3A9}"/>
                        </a:ext>
                      </a:extLst>
                    </p:cNvPr>
                    <p:cNvCxnSpPr/>
                    <p:nvPr/>
                  </p:nvCxnSpPr>
                  <p:spPr bwMode="gray">
                    <a:xfrm flipH="1" flipV="1">
                      <a:off x="6238805" y="1103450"/>
                      <a:ext cx="101690" cy="610113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27" name="Gerade Verbindung 309">
                      <a:extLst>
                        <a:ext uri="{FF2B5EF4-FFF2-40B4-BE49-F238E27FC236}">
                          <a16:creationId xmlns:a16="http://schemas.microsoft.com/office/drawing/2014/main" id="{C7999F70-E6DC-4C50-A663-78A83F6F7E65}"/>
                        </a:ext>
                      </a:extLst>
                    </p:cNvPr>
                    <p:cNvCxnSpPr/>
                    <p:nvPr>
                      <p:custDataLst>
                        <p:tags r:id="rId49"/>
                      </p:custDataLst>
                    </p:nvPr>
                  </p:nvCxnSpPr>
                  <p:spPr bwMode="gray">
                    <a:xfrm flipV="1">
                      <a:off x="5091283" y="1103449"/>
                      <a:ext cx="1147522" cy="340724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28" name="Gerade Verbindung 312">
                      <a:extLst>
                        <a:ext uri="{FF2B5EF4-FFF2-40B4-BE49-F238E27FC236}">
                          <a16:creationId xmlns:a16="http://schemas.microsoft.com/office/drawing/2014/main" id="{B9BC398D-AD37-4F12-B321-ABD5DD1A213F}"/>
                        </a:ext>
                      </a:extLst>
                    </p:cNvPr>
                    <p:cNvCxnSpPr>
                      <a:endCxn id="64" idx="2"/>
                    </p:cNvCxnSpPr>
                    <p:nvPr>
                      <p:custDataLst>
                        <p:tags r:id="rId50"/>
                      </p:custDataLst>
                    </p:nvPr>
                  </p:nvCxnSpPr>
                  <p:spPr bwMode="gray">
                    <a:xfrm>
                      <a:off x="5091283" y="1444174"/>
                      <a:ext cx="1088148" cy="277395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29" name="Gerade Verbindung 137">
                      <a:extLst>
                        <a:ext uri="{FF2B5EF4-FFF2-40B4-BE49-F238E27FC236}">
                          <a16:creationId xmlns:a16="http://schemas.microsoft.com/office/drawing/2014/main" id="{7FA36A05-F270-4539-922B-387F16AEE581}"/>
                        </a:ext>
                      </a:extLst>
                    </p:cNvPr>
                    <p:cNvCxnSpPr/>
                    <p:nvPr>
                      <p:custDataLst>
                        <p:tags r:id="rId51"/>
                      </p:custDataLst>
                    </p:nvPr>
                  </p:nvCxnSpPr>
                  <p:spPr bwMode="gray">
                    <a:xfrm>
                      <a:off x="3783633" y="1866097"/>
                      <a:ext cx="2267411" cy="1083600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30" name="Gerade Verbindung 318">
                      <a:extLst>
                        <a:ext uri="{FF2B5EF4-FFF2-40B4-BE49-F238E27FC236}">
                          <a16:creationId xmlns:a16="http://schemas.microsoft.com/office/drawing/2014/main" id="{5210B3B8-96EE-4857-8599-C37C5E99DB79}"/>
                        </a:ext>
                      </a:extLst>
                    </p:cNvPr>
                    <p:cNvCxnSpPr>
                      <a:endCxn id="64" idx="5"/>
                    </p:cNvCxnSpPr>
                    <p:nvPr>
                      <p:custDataLst>
                        <p:tags r:id="rId52"/>
                      </p:custDataLst>
                    </p:nvPr>
                  </p:nvCxnSpPr>
                  <p:spPr bwMode="gray">
                    <a:xfrm flipH="1" flipV="1">
                      <a:off x="6369517" y="1800304"/>
                      <a:ext cx="903250" cy="419256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31" name="Gerade Verbindung 321">
                      <a:extLst>
                        <a:ext uri="{FF2B5EF4-FFF2-40B4-BE49-F238E27FC236}">
                          <a16:creationId xmlns:a16="http://schemas.microsoft.com/office/drawing/2014/main" id="{9F10BA90-797F-4CD1-8F1B-DE22DC8CBECD}"/>
                        </a:ext>
                      </a:extLst>
                    </p:cNvPr>
                    <p:cNvCxnSpPr/>
                    <p:nvPr>
                      <p:custDataLst>
                        <p:tags r:id="rId53"/>
                      </p:custDataLst>
                    </p:nvPr>
                  </p:nvCxnSpPr>
                  <p:spPr bwMode="gray">
                    <a:xfrm flipH="1" flipV="1">
                      <a:off x="6238806" y="1103449"/>
                      <a:ext cx="1862143" cy="83512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32" name="Gerade Verbindung 324">
                      <a:extLst>
                        <a:ext uri="{FF2B5EF4-FFF2-40B4-BE49-F238E27FC236}">
                          <a16:creationId xmlns:a16="http://schemas.microsoft.com/office/drawing/2014/main" id="{3A5329AB-60E8-412D-B3D7-6935EFB2E45D}"/>
                        </a:ext>
                      </a:extLst>
                    </p:cNvPr>
                    <p:cNvCxnSpPr/>
                    <p:nvPr>
                      <p:custDataLst>
                        <p:tags r:id="rId54"/>
                      </p:custDataLst>
                    </p:nvPr>
                  </p:nvCxnSpPr>
                  <p:spPr bwMode="gray">
                    <a:xfrm>
                      <a:off x="8100948" y="1186961"/>
                      <a:ext cx="1133248" cy="522976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33" name="Gerade Verbindung 330">
                      <a:extLst>
                        <a:ext uri="{FF2B5EF4-FFF2-40B4-BE49-F238E27FC236}">
                          <a16:creationId xmlns:a16="http://schemas.microsoft.com/office/drawing/2014/main" id="{DD1DCDC9-FC8F-4F28-AA69-025F76F7898D}"/>
                        </a:ext>
                      </a:extLst>
                    </p:cNvPr>
                    <p:cNvCxnSpPr/>
                    <p:nvPr/>
                  </p:nvCxnSpPr>
                  <p:spPr bwMode="gray">
                    <a:xfrm flipV="1">
                      <a:off x="7272767" y="1866098"/>
                      <a:ext cx="1100586" cy="353463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34" name="Gerade Verbindung 336">
                      <a:extLst>
                        <a:ext uri="{FF2B5EF4-FFF2-40B4-BE49-F238E27FC236}">
                          <a16:creationId xmlns:a16="http://schemas.microsoft.com/office/drawing/2014/main" id="{3E6F1EFC-3F46-4954-A794-CE7B186C180C}"/>
                        </a:ext>
                      </a:extLst>
                    </p:cNvPr>
                    <p:cNvCxnSpPr>
                      <a:endCxn id="78" idx="3"/>
                    </p:cNvCxnSpPr>
                    <p:nvPr/>
                  </p:nvCxnSpPr>
                  <p:spPr bwMode="gray">
                    <a:xfrm flipV="1">
                      <a:off x="7201143" y="3143437"/>
                      <a:ext cx="835117" cy="979241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35" name="Gerade Verbindung 342">
                      <a:extLst>
                        <a:ext uri="{FF2B5EF4-FFF2-40B4-BE49-F238E27FC236}">
                          <a16:creationId xmlns:a16="http://schemas.microsoft.com/office/drawing/2014/main" id="{8A6A2108-0AF6-430A-889E-1A37FA34F9A7}"/>
                        </a:ext>
                      </a:extLst>
                    </p:cNvPr>
                    <p:cNvCxnSpPr>
                      <a:endCxn id="87" idx="3"/>
                    </p:cNvCxnSpPr>
                    <p:nvPr/>
                  </p:nvCxnSpPr>
                  <p:spPr bwMode="gray">
                    <a:xfrm flipV="1">
                      <a:off x="9212154" y="3276455"/>
                      <a:ext cx="397102" cy="1382421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36" name="Gerade Verbindung 345">
                      <a:extLst>
                        <a:ext uri="{FF2B5EF4-FFF2-40B4-BE49-F238E27FC236}">
                          <a16:creationId xmlns:a16="http://schemas.microsoft.com/office/drawing/2014/main" id="{D7E453E2-22D6-4BE6-81D2-1B9C842F7F9E}"/>
                        </a:ext>
                      </a:extLst>
                    </p:cNvPr>
                    <p:cNvCxnSpPr/>
                    <p:nvPr/>
                  </p:nvCxnSpPr>
                  <p:spPr bwMode="gray">
                    <a:xfrm flipH="1" flipV="1">
                      <a:off x="7201142" y="4122677"/>
                      <a:ext cx="1926368" cy="531354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37" name="Gerade Verbindung 351">
                      <a:extLst>
                        <a:ext uri="{FF2B5EF4-FFF2-40B4-BE49-F238E27FC236}">
                          <a16:creationId xmlns:a16="http://schemas.microsoft.com/office/drawing/2014/main" id="{A77C9DFF-4D86-48B3-BCE1-AA28DBE1318F}"/>
                        </a:ext>
                      </a:extLst>
                    </p:cNvPr>
                    <p:cNvCxnSpPr/>
                    <p:nvPr/>
                  </p:nvCxnSpPr>
                  <p:spPr bwMode="gray">
                    <a:xfrm>
                      <a:off x="7201143" y="4122678"/>
                      <a:ext cx="793361" cy="1144703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38" name="Gerade Verbindung 354">
                      <a:extLst>
                        <a:ext uri="{FF2B5EF4-FFF2-40B4-BE49-F238E27FC236}">
                          <a16:creationId xmlns:a16="http://schemas.microsoft.com/office/drawing/2014/main" id="{88AD984D-0947-4ED0-B531-2441C0C2A8C5}"/>
                        </a:ext>
                      </a:extLst>
                    </p:cNvPr>
                    <p:cNvCxnSpPr>
                      <a:stCxn id="78" idx="3"/>
                    </p:cNvCxnSpPr>
                    <p:nvPr>
                      <p:custDataLst>
                        <p:tags r:id="rId55"/>
                      </p:custDataLst>
                    </p:nvPr>
                  </p:nvCxnSpPr>
                  <p:spPr bwMode="gray">
                    <a:xfrm flipV="1">
                      <a:off x="8036260" y="2513202"/>
                      <a:ext cx="675149" cy="630234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39" name="Gerade Verbindung 360">
                      <a:extLst>
                        <a:ext uri="{FF2B5EF4-FFF2-40B4-BE49-F238E27FC236}">
                          <a16:creationId xmlns:a16="http://schemas.microsoft.com/office/drawing/2014/main" id="{0C92A21E-6A94-4CCD-BA46-A2CFB3C9F1F6}"/>
                        </a:ext>
                      </a:extLst>
                    </p:cNvPr>
                    <p:cNvCxnSpPr/>
                    <p:nvPr/>
                  </p:nvCxnSpPr>
                  <p:spPr bwMode="gray">
                    <a:xfrm flipH="1" flipV="1">
                      <a:off x="7272766" y="2219560"/>
                      <a:ext cx="1438642" cy="293642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40" name="Gerade Verbindung 363">
                      <a:extLst>
                        <a:ext uri="{FF2B5EF4-FFF2-40B4-BE49-F238E27FC236}">
                          <a16:creationId xmlns:a16="http://schemas.microsoft.com/office/drawing/2014/main" id="{17DD8CCF-2616-4894-AD67-56C9ACDE25A0}"/>
                        </a:ext>
                      </a:extLst>
                    </p:cNvPr>
                    <p:cNvCxnSpPr>
                      <a:stCxn id="78" idx="3"/>
                    </p:cNvCxnSpPr>
                    <p:nvPr/>
                  </p:nvCxnSpPr>
                  <p:spPr bwMode="gray">
                    <a:xfrm flipH="1" flipV="1">
                      <a:off x="7272767" y="2219560"/>
                      <a:ext cx="763493" cy="923876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41" name="Gerade Verbindung 366">
                      <a:extLst>
                        <a:ext uri="{FF2B5EF4-FFF2-40B4-BE49-F238E27FC236}">
                          <a16:creationId xmlns:a16="http://schemas.microsoft.com/office/drawing/2014/main" id="{F67FCD0D-5BFF-4D35-A6D8-2972709005D0}"/>
                        </a:ext>
                      </a:extLst>
                    </p:cNvPr>
                    <p:cNvCxnSpPr>
                      <a:stCxn id="78" idx="3"/>
                      <a:endCxn id="85" idx="3"/>
                    </p:cNvCxnSpPr>
                    <p:nvPr/>
                  </p:nvCxnSpPr>
                  <p:spPr bwMode="gray">
                    <a:xfrm flipV="1">
                      <a:off x="8036259" y="2527134"/>
                      <a:ext cx="1866244" cy="616302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42" name="Gerade Verbindung 369">
                      <a:extLst>
                        <a:ext uri="{FF2B5EF4-FFF2-40B4-BE49-F238E27FC236}">
                          <a16:creationId xmlns:a16="http://schemas.microsoft.com/office/drawing/2014/main" id="{F56FDD88-8DCA-4F15-9220-11D8C7D882FF}"/>
                        </a:ext>
                      </a:extLst>
                    </p:cNvPr>
                    <p:cNvCxnSpPr>
                      <a:stCxn id="85" idx="3"/>
                      <a:endCxn id="67" idx="6"/>
                    </p:cNvCxnSpPr>
                    <p:nvPr>
                      <p:custDataLst>
                        <p:tags r:id="rId56"/>
                      </p:custDataLst>
                    </p:nvPr>
                  </p:nvCxnSpPr>
                  <p:spPr bwMode="gray">
                    <a:xfrm flipH="1" flipV="1">
                      <a:off x="8822757" y="2513202"/>
                      <a:ext cx="1079746" cy="13932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43" name="Gerade Verbindung 372">
                      <a:extLst>
                        <a:ext uri="{FF2B5EF4-FFF2-40B4-BE49-F238E27FC236}">
                          <a16:creationId xmlns:a16="http://schemas.microsoft.com/office/drawing/2014/main" id="{49EB4AC1-EECD-4C40-A294-54490FA9F03B}"/>
                        </a:ext>
                      </a:extLst>
                    </p:cNvPr>
                    <p:cNvCxnSpPr/>
                    <p:nvPr>
                      <p:custDataLst>
                        <p:tags r:id="rId57"/>
                      </p:custDataLst>
                    </p:nvPr>
                  </p:nvCxnSpPr>
                  <p:spPr bwMode="gray">
                    <a:xfrm flipV="1">
                      <a:off x="8711408" y="1709938"/>
                      <a:ext cx="522788" cy="803265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44" name="Gerade Verbindung 375">
                      <a:extLst>
                        <a:ext uri="{FF2B5EF4-FFF2-40B4-BE49-F238E27FC236}">
                          <a16:creationId xmlns:a16="http://schemas.microsoft.com/office/drawing/2014/main" id="{50EF8D05-F6CE-4452-B231-DC5574856F33}"/>
                        </a:ext>
                      </a:extLst>
                    </p:cNvPr>
                    <p:cNvCxnSpPr/>
                    <p:nvPr/>
                  </p:nvCxnSpPr>
                  <p:spPr bwMode="gray">
                    <a:xfrm flipV="1">
                      <a:off x="8373352" y="1709937"/>
                      <a:ext cx="860844" cy="156160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45" name="Gerade Verbindung 384">
                      <a:extLst>
                        <a:ext uri="{FF2B5EF4-FFF2-40B4-BE49-F238E27FC236}">
                          <a16:creationId xmlns:a16="http://schemas.microsoft.com/office/drawing/2014/main" id="{EBE51C9D-0EC7-4C8B-8195-29A53EF393B8}"/>
                        </a:ext>
                      </a:extLst>
                    </p:cNvPr>
                    <p:cNvCxnSpPr>
                      <a:endCxn id="87" idx="3"/>
                    </p:cNvCxnSpPr>
                    <p:nvPr/>
                  </p:nvCxnSpPr>
                  <p:spPr bwMode="gray">
                    <a:xfrm flipH="1" flipV="1">
                      <a:off x="9609256" y="3276455"/>
                      <a:ext cx="586494" cy="826800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46" name="Gerade Verbindung 387">
                      <a:extLst>
                        <a:ext uri="{FF2B5EF4-FFF2-40B4-BE49-F238E27FC236}">
                          <a16:creationId xmlns:a16="http://schemas.microsoft.com/office/drawing/2014/main" id="{528F95E1-D7ED-4DAE-BF5E-47B76E60467C}"/>
                        </a:ext>
                      </a:extLst>
                    </p:cNvPr>
                    <p:cNvCxnSpPr>
                      <a:endCxn id="78" idx="3"/>
                    </p:cNvCxnSpPr>
                    <p:nvPr/>
                  </p:nvCxnSpPr>
                  <p:spPr bwMode="gray">
                    <a:xfrm flipH="1" flipV="1">
                      <a:off x="8036260" y="3143437"/>
                      <a:ext cx="1091251" cy="1510595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47" name="Gerade Verbindung 390">
                      <a:extLst>
                        <a:ext uri="{FF2B5EF4-FFF2-40B4-BE49-F238E27FC236}">
                          <a16:creationId xmlns:a16="http://schemas.microsoft.com/office/drawing/2014/main" id="{D5F35900-8C68-4D30-95C9-394A508094F7}"/>
                        </a:ext>
                      </a:extLst>
                    </p:cNvPr>
                    <p:cNvCxnSpPr/>
                    <p:nvPr>
                      <p:custDataLst>
                        <p:tags r:id="rId58"/>
                      </p:custDataLst>
                    </p:nvPr>
                  </p:nvCxnSpPr>
                  <p:spPr bwMode="gray">
                    <a:xfrm flipV="1">
                      <a:off x="9127510" y="4103255"/>
                      <a:ext cx="1068240" cy="555620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48" name="Gerade Verbindung 393">
                      <a:extLst>
                        <a:ext uri="{FF2B5EF4-FFF2-40B4-BE49-F238E27FC236}">
                          <a16:creationId xmlns:a16="http://schemas.microsoft.com/office/drawing/2014/main" id="{093D2FC3-05B9-4E63-99FF-448F60C416EA}"/>
                        </a:ext>
                      </a:extLst>
                    </p:cNvPr>
                    <p:cNvCxnSpPr/>
                    <p:nvPr/>
                  </p:nvCxnSpPr>
                  <p:spPr bwMode="gray">
                    <a:xfrm flipV="1">
                      <a:off x="7994504" y="4654032"/>
                      <a:ext cx="1133007" cy="613349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49" name="Gerade Verbindung 396">
                      <a:extLst>
                        <a:ext uri="{FF2B5EF4-FFF2-40B4-BE49-F238E27FC236}">
                          <a16:creationId xmlns:a16="http://schemas.microsoft.com/office/drawing/2014/main" id="{C491ADFA-7DA2-431E-A1E2-09F965F81961}"/>
                        </a:ext>
                      </a:extLst>
                    </p:cNvPr>
                    <p:cNvCxnSpPr/>
                    <p:nvPr/>
                  </p:nvCxnSpPr>
                  <p:spPr bwMode="gray">
                    <a:xfrm flipV="1">
                      <a:off x="7318109" y="5267380"/>
                      <a:ext cx="676395" cy="45538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50" name="Gerade Verbindung 402">
                      <a:extLst>
                        <a:ext uri="{FF2B5EF4-FFF2-40B4-BE49-F238E27FC236}">
                          <a16:creationId xmlns:a16="http://schemas.microsoft.com/office/drawing/2014/main" id="{8AFCB70F-822C-43A6-9B44-65135FCA33E5}"/>
                        </a:ext>
                      </a:extLst>
                    </p:cNvPr>
                    <p:cNvCxnSpPr>
                      <a:stCxn id="70" idx="5"/>
                    </p:cNvCxnSpPr>
                    <p:nvPr>
                      <p:custDataLst>
                        <p:tags r:id="rId59"/>
                      </p:custDataLst>
                    </p:nvPr>
                  </p:nvCxnSpPr>
                  <p:spPr bwMode="gray">
                    <a:xfrm flipH="1" flipV="1">
                      <a:off x="5652783" y="4687144"/>
                      <a:ext cx="1052047" cy="628593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51" name="Gerade Verbindung 405">
                      <a:extLst>
                        <a:ext uri="{FF2B5EF4-FFF2-40B4-BE49-F238E27FC236}">
                          <a16:creationId xmlns:a16="http://schemas.microsoft.com/office/drawing/2014/main" id="{6D2AC070-6DEE-46C2-B3F2-31A5BF21BB07}"/>
                        </a:ext>
                      </a:extLst>
                    </p:cNvPr>
                    <p:cNvCxnSpPr/>
                    <p:nvPr/>
                  </p:nvCxnSpPr>
                  <p:spPr bwMode="gray">
                    <a:xfrm flipH="1" flipV="1">
                      <a:off x="6707894" y="5237001"/>
                      <a:ext cx="610215" cy="75918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52" name="Gerade Verbindung 408">
                      <a:extLst>
                        <a:ext uri="{FF2B5EF4-FFF2-40B4-BE49-F238E27FC236}">
                          <a16:creationId xmlns:a16="http://schemas.microsoft.com/office/drawing/2014/main" id="{91AFA1C4-77B3-42D0-AB04-BE0DEE9E42FF}"/>
                        </a:ext>
                      </a:extLst>
                    </p:cNvPr>
                    <p:cNvCxnSpPr>
                      <a:endCxn id="70" idx="7"/>
                    </p:cNvCxnSpPr>
                    <p:nvPr>
                      <p:custDataLst>
                        <p:tags r:id="rId60"/>
                      </p:custDataLst>
                    </p:nvPr>
                  </p:nvCxnSpPr>
                  <p:spPr bwMode="gray">
                    <a:xfrm flipH="1">
                      <a:off x="6704830" y="4430296"/>
                      <a:ext cx="338822" cy="727969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53" name="Gerade Verbindung 424">
                      <a:extLst>
                        <a:ext uri="{FF2B5EF4-FFF2-40B4-BE49-F238E27FC236}">
                          <a16:creationId xmlns:a16="http://schemas.microsoft.com/office/drawing/2014/main" id="{16392F51-F8E5-431E-AD3A-55B18A525364}"/>
                        </a:ext>
                      </a:extLst>
                    </p:cNvPr>
                    <p:cNvCxnSpPr/>
                    <p:nvPr/>
                  </p:nvCxnSpPr>
                  <p:spPr bwMode="gray">
                    <a:xfrm flipH="1" flipV="1">
                      <a:off x="3901121" y="3983864"/>
                      <a:ext cx="221498" cy="892865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54" name="Gerade Verbindung 427">
                      <a:extLst>
                        <a:ext uri="{FF2B5EF4-FFF2-40B4-BE49-F238E27FC236}">
                          <a16:creationId xmlns:a16="http://schemas.microsoft.com/office/drawing/2014/main" id="{7B0F28FB-4AE7-4D59-96FD-ABD60A35684D}"/>
                        </a:ext>
                      </a:extLst>
                    </p:cNvPr>
                    <p:cNvCxnSpPr/>
                    <p:nvPr/>
                  </p:nvCxnSpPr>
                  <p:spPr bwMode="gray">
                    <a:xfrm flipH="1" flipV="1">
                      <a:off x="2417440" y="3976833"/>
                      <a:ext cx="892961" cy="961727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55" name="Gerade Verbindung 441">
                      <a:extLst>
                        <a:ext uri="{FF2B5EF4-FFF2-40B4-BE49-F238E27FC236}">
                          <a16:creationId xmlns:a16="http://schemas.microsoft.com/office/drawing/2014/main" id="{118188B4-8C5E-40A5-91E5-E57606DF2472}"/>
                        </a:ext>
                      </a:extLst>
                    </p:cNvPr>
                    <p:cNvCxnSpPr/>
                    <p:nvPr/>
                  </p:nvCxnSpPr>
                  <p:spPr bwMode="gray">
                    <a:xfrm>
                      <a:off x="4122619" y="4876728"/>
                      <a:ext cx="657119" cy="535164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56" name="Gerade Verbindung 447">
                      <a:extLst>
                        <a:ext uri="{FF2B5EF4-FFF2-40B4-BE49-F238E27FC236}">
                          <a16:creationId xmlns:a16="http://schemas.microsoft.com/office/drawing/2014/main" id="{8A765BD3-74A5-4B95-AB72-634F2890250D}"/>
                        </a:ext>
                      </a:extLst>
                    </p:cNvPr>
                    <p:cNvCxnSpPr/>
                    <p:nvPr/>
                  </p:nvCxnSpPr>
                  <p:spPr bwMode="gray">
                    <a:xfrm flipH="1">
                      <a:off x="3901122" y="2660189"/>
                      <a:ext cx="663296" cy="1323675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57" name="Gerade Verbindung 450">
                      <a:extLst>
                        <a:ext uri="{FF2B5EF4-FFF2-40B4-BE49-F238E27FC236}">
                          <a16:creationId xmlns:a16="http://schemas.microsoft.com/office/drawing/2014/main" id="{CF01B368-812F-478E-90F3-1FCD9606AB1D}"/>
                        </a:ext>
                      </a:extLst>
                    </p:cNvPr>
                    <p:cNvCxnSpPr/>
                    <p:nvPr>
                      <p:custDataLst>
                        <p:tags r:id="rId61"/>
                      </p:custDataLst>
                    </p:nvPr>
                  </p:nvCxnSpPr>
                  <p:spPr bwMode="gray">
                    <a:xfrm>
                      <a:off x="6340468" y="4236387"/>
                      <a:ext cx="288883" cy="1001738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58" name="Gerade Verbindung 453">
                      <a:extLst>
                        <a:ext uri="{FF2B5EF4-FFF2-40B4-BE49-F238E27FC236}">
                          <a16:creationId xmlns:a16="http://schemas.microsoft.com/office/drawing/2014/main" id="{B47358A2-E8BA-41C0-90C8-28447F3D2098}"/>
                        </a:ext>
                      </a:extLst>
                    </p:cNvPr>
                    <p:cNvCxnSpPr>
                      <a:endCxn id="70" idx="3"/>
                    </p:cNvCxnSpPr>
                    <p:nvPr>
                      <p:custDataLst>
                        <p:tags r:id="rId62"/>
                      </p:custDataLst>
                    </p:nvPr>
                  </p:nvCxnSpPr>
                  <p:spPr bwMode="gray">
                    <a:xfrm flipV="1">
                      <a:off x="5864683" y="5315737"/>
                      <a:ext cx="682675" cy="142159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59" name="Gerade Verbindung 463">
                      <a:extLst>
                        <a:ext uri="{FF2B5EF4-FFF2-40B4-BE49-F238E27FC236}">
                          <a16:creationId xmlns:a16="http://schemas.microsoft.com/office/drawing/2014/main" id="{8EECFADD-2405-49DB-A969-4B314A8F7078}"/>
                        </a:ext>
                      </a:extLst>
                    </p:cNvPr>
                    <p:cNvCxnSpPr/>
                    <p:nvPr>
                      <p:custDataLst>
                        <p:tags r:id="rId63"/>
                      </p:custDataLst>
                    </p:nvPr>
                  </p:nvCxnSpPr>
                  <p:spPr bwMode="gray">
                    <a:xfrm>
                      <a:off x="4564418" y="2660189"/>
                      <a:ext cx="352922" cy="1399091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60" name="Gerade Verbindung 466">
                      <a:extLst>
                        <a:ext uri="{FF2B5EF4-FFF2-40B4-BE49-F238E27FC236}">
                          <a16:creationId xmlns:a16="http://schemas.microsoft.com/office/drawing/2014/main" id="{6A8ECABD-C949-4C14-9FDB-7C4B41DD263D}"/>
                        </a:ext>
                      </a:extLst>
                    </p:cNvPr>
                    <p:cNvCxnSpPr/>
                    <p:nvPr>
                      <p:custDataLst>
                        <p:tags r:id="rId64"/>
                      </p:custDataLst>
                    </p:nvPr>
                  </p:nvCxnSpPr>
                  <p:spPr bwMode="gray">
                    <a:xfrm flipH="1">
                      <a:off x="2862835" y="1861733"/>
                      <a:ext cx="920799" cy="721077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  <p:cxnSp>
                  <p:nvCxnSpPr>
                    <p:cNvPr id="161" name="Gerade Verbindung 203">
                      <a:extLst>
                        <a:ext uri="{FF2B5EF4-FFF2-40B4-BE49-F238E27FC236}">
                          <a16:creationId xmlns:a16="http://schemas.microsoft.com/office/drawing/2014/main" id="{F005B46F-510E-49A9-8EA0-42DA33852698}"/>
                        </a:ext>
                      </a:extLst>
                    </p:cNvPr>
                    <p:cNvCxnSpPr>
                      <a:stCxn id="84" idx="4"/>
                    </p:cNvCxnSpPr>
                    <p:nvPr>
                      <p:custDataLst>
                        <p:tags r:id="rId65"/>
                      </p:custDataLst>
                    </p:nvPr>
                  </p:nvCxnSpPr>
                  <p:spPr bwMode="gray">
                    <a:xfrm>
                      <a:off x="9902503" y="2638484"/>
                      <a:ext cx="293247" cy="1464772"/>
                    </a:xfrm>
                    <a:prstGeom prst="line">
                      <a:avLst/>
                    </a:prstGeom>
                    <a:noFill/>
                    <a:ln w="3175" cap="rnd" cmpd="sng" algn="ctr">
                      <a:solidFill>
                        <a:srgbClr val="485C69"/>
                      </a:solidFill>
                      <a:prstDash val="solid"/>
                      <a:miter lim="800000"/>
                    </a:ln>
                    <a:effectLst/>
                  </p:spPr>
                </p:cxnSp>
              </p:grpSp>
              <p:cxnSp>
                <p:nvCxnSpPr>
                  <p:cNvPr id="101" name="Gerade Verbindung 252">
                    <a:extLst>
                      <a:ext uri="{FF2B5EF4-FFF2-40B4-BE49-F238E27FC236}">
                        <a16:creationId xmlns:a16="http://schemas.microsoft.com/office/drawing/2014/main" id="{8B5D518F-824A-4DDF-9B61-0908D823424A}"/>
                      </a:ext>
                    </a:extLst>
                  </p:cNvPr>
                  <p:cNvCxnSpPr/>
                  <p:nvPr>
                    <p:custDataLst>
                      <p:tags r:id="rId39"/>
                    </p:custDataLst>
                  </p:nvPr>
                </p:nvCxnSpPr>
                <p:spPr bwMode="gray">
                  <a:xfrm>
                    <a:off x="2862836" y="2582810"/>
                    <a:ext cx="503240" cy="534985"/>
                  </a:xfrm>
                  <a:prstGeom prst="line">
                    <a:avLst/>
                  </a:prstGeom>
                  <a:noFill/>
                  <a:ln w="3175" cap="rnd" cmpd="sng" algn="ctr">
                    <a:solidFill>
                      <a:srgbClr val="485C69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102" name="Gerade Verbindung 256">
                    <a:extLst>
                      <a:ext uri="{FF2B5EF4-FFF2-40B4-BE49-F238E27FC236}">
                        <a16:creationId xmlns:a16="http://schemas.microsoft.com/office/drawing/2014/main" id="{BBA4E49E-036D-4686-A6B0-339BD5E92A91}"/>
                      </a:ext>
                    </a:extLst>
                  </p:cNvPr>
                  <p:cNvCxnSpPr/>
                  <p:nvPr>
                    <p:custDataLst>
                      <p:tags r:id="rId40"/>
                    </p:custDataLst>
                  </p:nvPr>
                </p:nvCxnSpPr>
                <p:spPr bwMode="gray">
                  <a:xfrm flipH="1" flipV="1">
                    <a:off x="2417439" y="3976833"/>
                    <a:ext cx="1483682" cy="7031"/>
                  </a:xfrm>
                  <a:prstGeom prst="line">
                    <a:avLst/>
                  </a:prstGeom>
                  <a:noFill/>
                  <a:ln w="3175" cap="rnd" cmpd="sng" algn="ctr">
                    <a:solidFill>
                      <a:srgbClr val="485C69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103" name="Gerade Verbindung 261">
                    <a:extLst>
                      <a:ext uri="{FF2B5EF4-FFF2-40B4-BE49-F238E27FC236}">
                        <a16:creationId xmlns:a16="http://schemas.microsoft.com/office/drawing/2014/main" id="{31808E8B-ABB3-4236-9C17-2A4AA52511D8}"/>
                      </a:ext>
                    </a:extLst>
                  </p:cNvPr>
                  <p:cNvCxnSpPr/>
                  <p:nvPr>
                    <p:custDataLst>
                      <p:tags r:id="rId41"/>
                    </p:custDataLst>
                  </p:nvPr>
                </p:nvCxnSpPr>
                <p:spPr bwMode="gray">
                  <a:xfrm flipH="1" flipV="1">
                    <a:off x="4564418" y="2660188"/>
                    <a:ext cx="1486626" cy="289510"/>
                  </a:xfrm>
                  <a:prstGeom prst="line">
                    <a:avLst/>
                  </a:prstGeom>
                  <a:noFill/>
                  <a:ln w="3175" cap="rnd" cmpd="sng" algn="ctr">
                    <a:solidFill>
                      <a:srgbClr val="485C69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104" name="Gerade Verbindung 267">
                    <a:extLst>
                      <a:ext uri="{FF2B5EF4-FFF2-40B4-BE49-F238E27FC236}">
                        <a16:creationId xmlns:a16="http://schemas.microsoft.com/office/drawing/2014/main" id="{E66AACD4-84BF-4AC4-A187-F3463DAB4FD0}"/>
                      </a:ext>
                    </a:extLst>
                  </p:cNvPr>
                  <p:cNvCxnSpPr/>
                  <p:nvPr/>
                </p:nvCxnSpPr>
                <p:spPr bwMode="gray">
                  <a:xfrm flipH="1">
                    <a:off x="3366075" y="2660188"/>
                    <a:ext cx="1198342" cy="457606"/>
                  </a:xfrm>
                  <a:prstGeom prst="line">
                    <a:avLst/>
                  </a:prstGeom>
                  <a:noFill/>
                  <a:ln w="3175" cap="rnd" cmpd="sng" algn="ctr">
                    <a:solidFill>
                      <a:srgbClr val="485C69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105" name="Gerade Verbindung 306">
                    <a:extLst>
                      <a:ext uri="{FF2B5EF4-FFF2-40B4-BE49-F238E27FC236}">
                        <a16:creationId xmlns:a16="http://schemas.microsoft.com/office/drawing/2014/main" id="{797C952E-D044-40FF-A8EF-54B275C6B531}"/>
                      </a:ext>
                    </a:extLst>
                  </p:cNvPr>
                  <p:cNvCxnSpPr>
                    <a:stCxn id="64" idx="6"/>
                  </p:cNvCxnSpPr>
                  <p:nvPr>
                    <p:custDataLst>
                      <p:tags r:id="rId42"/>
                    </p:custDataLst>
                  </p:nvPr>
                </p:nvCxnSpPr>
                <p:spPr bwMode="gray">
                  <a:xfrm flipV="1">
                    <a:off x="6402130" y="1186960"/>
                    <a:ext cx="1698819" cy="534608"/>
                  </a:xfrm>
                  <a:prstGeom prst="line">
                    <a:avLst/>
                  </a:prstGeom>
                  <a:noFill/>
                  <a:ln w="3175" cap="rnd" cmpd="sng" algn="ctr">
                    <a:solidFill>
                      <a:srgbClr val="485C69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106" name="Gerade Verbindung 315">
                    <a:extLst>
                      <a:ext uri="{FF2B5EF4-FFF2-40B4-BE49-F238E27FC236}">
                        <a16:creationId xmlns:a16="http://schemas.microsoft.com/office/drawing/2014/main" id="{A4F73D5C-449D-4A6E-AE5D-4AF538BCC49C}"/>
                      </a:ext>
                    </a:extLst>
                  </p:cNvPr>
                  <p:cNvCxnSpPr/>
                  <p:nvPr/>
                </p:nvCxnSpPr>
                <p:spPr bwMode="gray">
                  <a:xfrm flipV="1">
                    <a:off x="7272767" y="1186961"/>
                    <a:ext cx="828182" cy="1032599"/>
                  </a:xfrm>
                  <a:prstGeom prst="line">
                    <a:avLst/>
                  </a:prstGeom>
                  <a:noFill/>
                  <a:ln w="3175" cap="rnd" cmpd="sng" algn="ctr">
                    <a:solidFill>
                      <a:srgbClr val="485C69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107" name="Gerade Verbindung 327">
                    <a:extLst>
                      <a:ext uri="{FF2B5EF4-FFF2-40B4-BE49-F238E27FC236}">
                        <a16:creationId xmlns:a16="http://schemas.microsoft.com/office/drawing/2014/main" id="{1E9E89DA-09BD-41AD-934A-A95CDE6156A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8100948" y="1186961"/>
                    <a:ext cx="272404" cy="679136"/>
                  </a:xfrm>
                  <a:prstGeom prst="line">
                    <a:avLst/>
                  </a:prstGeom>
                  <a:noFill/>
                  <a:ln w="3175" cap="rnd" cmpd="sng" algn="ctr">
                    <a:solidFill>
                      <a:srgbClr val="485C69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108" name="Gerade Verbindung 357">
                    <a:extLst>
                      <a:ext uri="{FF2B5EF4-FFF2-40B4-BE49-F238E27FC236}">
                        <a16:creationId xmlns:a16="http://schemas.microsoft.com/office/drawing/2014/main" id="{7E54E6C2-E3A4-4267-85FD-455105659588}"/>
                      </a:ext>
                    </a:extLst>
                  </p:cNvPr>
                  <p:cNvCxnSpPr/>
                  <p:nvPr>
                    <p:custDataLst>
                      <p:tags r:id="rId43"/>
                    </p:custDataLst>
                  </p:nvPr>
                </p:nvCxnSpPr>
                <p:spPr bwMode="gray">
                  <a:xfrm flipH="1" flipV="1">
                    <a:off x="8373352" y="1866098"/>
                    <a:ext cx="338056" cy="647105"/>
                  </a:xfrm>
                  <a:prstGeom prst="line">
                    <a:avLst/>
                  </a:prstGeom>
                  <a:noFill/>
                  <a:ln w="3175" cap="rnd" cmpd="sng" algn="ctr">
                    <a:solidFill>
                      <a:srgbClr val="485C69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109" name="Gerade Verbindung 381">
                    <a:extLst>
                      <a:ext uri="{FF2B5EF4-FFF2-40B4-BE49-F238E27FC236}">
                        <a16:creationId xmlns:a16="http://schemas.microsoft.com/office/drawing/2014/main" id="{F7022224-B4DD-4738-B1DE-AA1874F22735}"/>
                      </a:ext>
                    </a:extLst>
                  </p:cNvPr>
                  <p:cNvCxnSpPr>
                    <a:stCxn id="85" idx="3"/>
                  </p:cNvCxnSpPr>
                  <p:nvPr/>
                </p:nvCxnSpPr>
                <p:spPr bwMode="gray">
                  <a:xfrm flipH="1" flipV="1">
                    <a:off x="9234197" y="1709938"/>
                    <a:ext cx="668307" cy="817197"/>
                  </a:xfrm>
                  <a:prstGeom prst="line">
                    <a:avLst/>
                  </a:prstGeom>
                  <a:noFill/>
                  <a:ln w="3175" cap="rnd" cmpd="sng" algn="ctr">
                    <a:solidFill>
                      <a:srgbClr val="485C69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110" name="Gerade Verbindung 417">
                    <a:extLst>
                      <a:ext uri="{FF2B5EF4-FFF2-40B4-BE49-F238E27FC236}">
                        <a16:creationId xmlns:a16="http://schemas.microsoft.com/office/drawing/2014/main" id="{40DC9C74-283E-4A1F-B5AB-2B765CCA08B3}"/>
                      </a:ext>
                    </a:extLst>
                  </p:cNvPr>
                  <p:cNvCxnSpPr/>
                  <p:nvPr/>
                </p:nvCxnSpPr>
                <p:spPr bwMode="gray">
                  <a:xfrm flipH="1" flipV="1">
                    <a:off x="4917339" y="4059279"/>
                    <a:ext cx="735443" cy="627864"/>
                  </a:xfrm>
                  <a:prstGeom prst="line">
                    <a:avLst/>
                  </a:prstGeom>
                  <a:noFill/>
                  <a:ln w="3175" cap="rnd" cmpd="sng" algn="ctr">
                    <a:solidFill>
                      <a:srgbClr val="485C69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111" name="Gerade Verbindung 431">
                    <a:extLst>
                      <a:ext uri="{FF2B5EF4-FFF2-40B4-BE49-F238E27FC236}">
                        <a16:creationId xmlns:a16="http://schemas.microsoft.com/office/drawing/2014/main" id="{CE56838A-DE8C-4D7B-B90E-4102F7E2D3AA}"/>
                      </a:ext>
                    </a:extLst>
                  </p:cNvPr>
                  <p:cNvCxnSpPr/>
                  <p:nvPr/>
                </p:nvCxnSpPr>
                <p:spPr bwMode="gray">
                  <a:xfrm flipV="1">
                    <a:off x="3310401" y="3983863"/>
                    <a:ext cx="590721" cy="954696"/>
                  </a:xfrm>
                  <a:prstGeom prst="line">
                    <a:avLst/>
                  </a:prstGeom>
                  <a:noFill/>
                  <a:ln w="3175" cap="rnd" cmpd="sng" algn="ctr">
                    <a:solidFill>
                      <a:srgbClr val="485C69"/>
                    </a:solidFill>
                    <a:prstDash val="solid"/>
                    <a:miter lim="800000"/>
                  </a:ln>
                  <a:effectLst/>
                </p:spPr>
              </p:cxnSp>
              <p:cxnSp>
                <p:nvCxnSpPr>
                  <p:cNvPr id="112" name="Gerade Verbindung 444">
                    <a:extLst>
                      <a:ext uri="{FF2B5EF4-FFF2-40B4-BE49-F238E27FC236}">
                        <a16:creationId xmlns:a16="http://schemas.microsoft.com/office/drawing/2014/main" id="{55D96E94-B78A-4589-9977-E6BB32F4B4B3}"/>
                      </a:ext>
                    </a:extLst>
                  </p:cNvPr>
                  <p:cNvCxnSpPr/>
                  <p:nvPr>
                    <p:custDataLst>
                      <p:tags r:id="rId44"/>
                    </p:custDataLst>
                  </p:nvPr>
                </p:nvCxnSpPr>
                <p:spPr bwMode="gray">
                  <a:xfrm flipV="1">
                    <a:off x="4122619" y="4687144"/>
                    <a:ext cx="1530163" cy="189585"/>
                  </a:xfrm>
                  <a:prstGeom prst="line">
                    <a:avLst/>
                  </a:prstGeom>
                  <a:noFill/>
                  <a:ln w="3175" cap="rnd" cmpd="sng" algn="ctr">
                    <a:solidFill>
                      <a:srgbClr val="485C69"/>
                    </a:solidFill>
                    <a:prstDash val="solid"/>
                    <a:miter lim="800000"/>
                  </a:ln>
                  <a:effectLst/>
                </p:spPr>
              </p:cxnSp>
            </p:grpSp>
            <p:cxnSp>
              <p:nvCxnSpPr>
                <p:cNvPr id="98" name="Gerade Verbindung 457">
                  <a:extLst>
                    <a:ext uri="{FF2B5EF4-FFF2-40B4-BE49-F238E27FC236}">
                      <a16:creationId xmlns:a16="http://schemas.microsoft.com/office/drawing/2014/main" id="{0FE66694-5187-4B82-BF3A-ABFB2386A773}"/>
                    </a:ext>
                  </a:extLst>
                </p:cNvPr>
                <p:cNvCxnSpPr/>
                <p:nvPr>
                  <p:custDataLst>
                    <p:tags r:id="rId38"/>
                  </p:custDataLst>
                </p:nvPr>
              </p:nvCxnSpPr>
              <p:spPr bwMode="gray">
                <a:xfrm flipH="1" flipV="1">
                  <a:off x="5652782" y="4687143"/>
                  <a:ext cx="211900" cy="770752"/>
                </a:xfrm>
                <a:prstGeom prst="line">
                  <a:avLst/>
                </a:prstGeom>
                <a:noFill/>
                <a:ln w="3175" cap="rnd" cmpd="sng" algn="ctr">
                  <a:solidFill>
                    <a:srgbClr val="485C69"/>
                  </a:solidFill>
                  <a:prstDash val="solid"/>
                  <a:miter lim="800000"/>
                </a:ln>
                <a:effectLst/>
              </p:spPr>
            </p:cxnSp>
            <p:cxnSp>
              <p:nvCxnSpPr>
                <p:cNvPr id="99" name="Gerade Verbindung 460">
                  <a:extLst>
                    <a:ext uri="{FF2B5EF4-FFF2-40B4-BE49-F238E27FC236}">
                      <a16:creationId xmlns:a16="http://schemas.microsoft.com/office/drawing/2014/main" id="{76977AFC-6029-417A-9721-17A9487D0021}"/>
                    </a:ext>
                  </a:extLst>
                </p:cNvPr>
                <p:cNvCxnSpPr/>
                <p:nvPr/>
              </p:nvCxnSpPr>
              <p:spPr bwMode="gray">
                <a:xfrm flipH="1" flipV="1">
                  <a:off x="4779738" y="5411892"/>
                  <a:ext cx="1084944" cy="46003"/>
                </a:xfrm>
                <a:prstGeom prst="line">
                  <a:avLst/>
                </a:prstGeom>
                <a:noFill/>
                <a:ln w="3175" cap="rnd" cmpd="sng" algn="ctr">
                  <a:solidFill>
                    <a:srgbClr val="485C69"/>
                  </a:solidFill>
                  <a:prstDash val="solid"/>
                  <a:miter lim="800000"/>
                </a:ln>
                <a:effectLst/>
              </p:spPr>
            </p:cxnSp>
          </p:grpSp>
        </p:grpSp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9677AA2E-8D9C-4AD5-8009-369CEB9CAD65}"/>
                </a:ext>
              </a:extLst>
            </p:cNvPr>
            <p:cNvSpPr txBox="1"/>
            <p:nvPr>
              <p:custDataLst>
                <p:tags r:id="rId2"/>
              </p:custDataLst>
            </p:nvPr>
          </p:nvSpPr>
          <p:spPr bwMode="gray">
            <a:xfrm>
              <a:off x="4912736" y="2845510"/>
              <a:ext cx="1666836" cy="1666835"/>
            </a:xfrm>
            <a:prstGeom prst="ellipse">
              <a:avLst/>
            </a:prstGeom>
            <a:solidFill>
              <a:schemeClr val="accent6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0" tIns="46800" rIns="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lvl="0" algn="ctr" defTabSz="914370">
                <a:buClr>
                  <a:srgbClr val="4A4A4A"/>
                </a:buClr>
                <a:defRPr/>
              </a:pPr>
              <a:r>
                <a:rPr lang="de-DE" sz="1000" b="1" kern="0" dirty="0">
                  <a:cs typeface="Arial" panose="020B0604020202020204" pitchFamily="34" charset="0"/>
                </a:rPr>
                <a:t>Innovations-  </a:t>
              </a:r>
              <a:r>
                <a:rPr lang="de-DE" sz="1000" b="1" kern="0" dirty="0">
                  <a:latin typeface="Arial"/>
                  <a:cs typeface="Arial" panose="020B0604020202020204" pitchFamily="34" charset="0"/>
                </a:rPr>
                <a:t>landschaft GB BMVg</a:t>
              </a:r>
              <a:endParaRPr kumimoji="0" lang="de-DE" sz="10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53" name="Textfeld 52">
              <a:extLst>
                <a:ext uri="{FF2B5EF4-FFF2-40B4-BE49-F238E27FC236}">
                  <a16:creationId xmlns:a16="http://schemas.microsoft.com/office/drawing/2014/main" id="{DE59B25A-ED4C-4E9A-A8BF-A62A0C6950B3}"/>
                </a:ext>
              </a:extLst>
            </p:cNvPr>
            <p:cNvSpPr txBox="1"/>
            <p:nvPr>
              <p:custDataLst>
                <p:tags r:id="rId3"/>
              </p:custDataLst>
            </p:nvPr>
          </p:nvSpPr>
          <p:spPr bwMode="gray">
            <a:xfrm>
              <a:off x="4917504" y="4908012"/>
              <a:ext cx="772169" cy="772169"/>
            </a:xfrm>
            <a:prstGeom prst="ellipse">
              <a:avLst/>
            </a:prstGeom>
            <a:solidFill>
              <a:srgbClr val="485C6A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4" name="Textfeld 53">
              <a:extLst>
                <a:ext uri="{FF2B5EF4-FFF2-40B4-BE49-F238E27FC236}">
                  <a16:creationId xmlns:a16="http://schemas.microsoft.com/office/drawing/2014/main" id="{BC98C99C-A951-4C21-9224-2F01917F6442}"/>
                </a:ext>
              </a:extLst>
            </p:cNvPr>
            <p:cNvSpPr txBox="1"/>
            <p:nvPr>
              <p:custDataLst>
                <p:tags r:id="rId4"/>
              </p:custDataLst>
            </p:nvPr>
          </p:nvSpPr>
          <p:spPr bwMode="gray">
            <a:xfrm>
              <a:off x="3209769" y="4238874"/>
              <a:ext cx="717013" cy="717013"/>
            </a:xfrm>
            <a:prstGeom prst="ellipse">
              <a:avLst/>
            </a:prstGeom>
            <a:solidFill>
              <a:srgbClr val="485C6A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5" name="Textfeld 54">
              <a:extLst>
                <a:ext uri="{FF2B5EF4-FFF2-40B4-BE49-F238E27FC236}">
                  <a16:creationId xmlns:a16="http://schemas.microsoft.com/office/drawing/2014/main" id="{667EB690-35D4-43DA-A8E5-A95EB9156275}"/>
                </a:ext>
              </a:extLst>
            </p:cNvPr>
            <p:cNvSpPr txBox="1"/>
            <p:nvPr>
              <p:custDataLst>
                <p:tags r:id="rId5"/>
              </p:custDataLst>
            </p:nvPr>
          </p:nvSpPr>
          <p:spPr bwMode="gray">
            <a:xfrm>
              <a:off x="6478991" y="4376392"/>
              <a:ext cx="717013" cy="717013"/>
            </a:xfrm>
            <a:prstGeom prst="ellipse">
              <a:avLst/>
            </a:prstGeom>
            <a:solidFill>
              <a:srgbClr val="485C6A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6" name="Textfeld 55">
              <a:extLst>
                <a:ext uri="{FF2B5EF4-FFF2-40B4-BE49-F238E27FC236}">
                  <a16:creationId xmlns:a16="http://schemas.microsoft.com/office/drawing/2014/main" id="{5C917EDD-8DAF-4363-9F79-8C4510FCE2F3}"/>
                </a:ext>
              </a:extLst>
            </p:cNvPr>
            <p:cNvSpPr txBox="1"/>
            <p:nvPr>
              <p:custDataLst>
                <p:tags r:id="rId6"/>
              </p:custDataLst>
            </p:nvPr>
          </p:nvSpPr>
          <p:spPr bwMode="gray">
            <a:xfrm>
              <a:off x="8548225" y="2041325"/>
              <a:ext cx="606703" cy="606703"/>
            </a:xfrm>
            <a:prstGeom prst="ellipse">
              <a:avLst/>
            </a:prstGeom>
            <a:solidFill>
              <a:srgbClr val="485C6A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F78173D7-DB47-48CE-B36A-2C826F871814}"/>
                </a:ext>
              </a:extLst>
            </p:cNvPr>
            <p:cNvSpPr txBox="1"/>
            <p:nvPr>
              <p:custDataLst>
                <p:tags r:id="rId7"/>
              </p:custDataLst>
            </p:nvPr>
          </p:nvSpPr>
          <p:spPr bwMode="gray">
            <a:xfrm>
              <a:off x="8442536" y="4957943"/>
              <a:ext cx="606703" cy="606703"/>
            </a:xfrm>
            <a:prstGeom prst="ellipse">
              <a:avLst/>
            </a:prstGeom>
            <a:solidFill>
              <a:srgbClr val="485C6A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8" name="Textfeld 57">
              <a:extLst>
                <a:ext uri="{FF2B5EF4-FFF2-40B4-BE49-F238E27FC236}">
                  <a16:creationId xmlns:a16="http://schemas.microsoft.com/office/drawing/2014/main" id="{29F29A51-C698-43A6-A16B-EABF4ABE5B5F}"/>
                </a:ext>
              </a:extLst>
            </p:cNvPr>
            <p:cNvSpPr txBox="1"/>
            <p:nvPr>
              <p:custDataLst>
                <p:tags r:id="rId8"/>
              </p:custDataLst>
            </p:nvPr>
          </p:nvSpPr>
          <p:spPr bwMode="gray">
            <a:xfrm>
              <a:off x="4135340" y="5708730"/>
              <a:ext cx="606703" cy="606703"/>
            </a:xfrm>
            <a:prstGeom prst="ellipse">
              <a:avLst/>
            </a:prstGeom>
            <a:solidFill>
              <a:srgbClr val="485C6A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59" name="Textfeld 58">
              <a:extLst>
                <a:ext uri="{FF2B5EF4-FFF2-40B4-BE49-F238E27FC236}">
                  <a16:creationId xmlns:a16="http://schemas.microsoft.com/office/drawing/2014/main" id="{2538C364-7035-40EF-92F0-6F536DACBC3C}"/>
                </a:ext>
              </a:extLst>
            </p:cNvPr>
            <p:cNvSpPr txBox="1"/>
            <p:nvPr>
              <p:custDataLst>
                <p:tags r:id="rId9"/>
              </p:custDataLst>
            </p:nvPr>
          </p:nvSpPr>
          <p:spPr bwMode="gray">
            <a:xfrm>
              <a:off x="7411831" y="1569916"/>
              <a:ext cx="574939" cy="574939"/>
            </a:xfrm>
            <a:prstGeom prst="ellipse">
              <a:avLst/>
            </a:prstGeom>
            <a:solidFill>
              <a:srgbClr val="485C6A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60" name="Gruppieren 59">
              <a:extLst>
                <a:ext uri="{FF2B5EF4-FFF2-40B4-BE49-F238E27FC236}">
                  <a16:creationId xmlns:a16="http://schemas.microsoft.com/office/drawing/2014/main" id="{50545D77-5DA5-42A7-BD59-ED0CCC6CE209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9030096" y="3703533"/>
              <a:ext cx="386084" cy="386084"/>
              <a:chOff x="9684710" y="3429000"/>
              <a:chExt cx="2880000" cy="2880000"/>
            </a:xfrm>
          </p:grpSpPr>
          <p:sp>
            <p:nvSpPr>
              <p:cNvPr id="86" name="Textfeld 85">
                <a:extLst>
                  <a:ext uri="{FF2B5EF4-FFF2-40B4-BE49-F238E27FC236}">
                    <a16:creationId xmlns:a16="http://schemas.microsoft.com/office/drawing/2014/main" id="{1FE88F74-D34A-4F20-9099-6AB66E29A86D}"/>
                  </a:ext>
                </a:extLst>
              </p:cNvPr>
              <p:cNvSpPr txBox="1"/>
              <p:nvPr>
                <p:custDataLst>
                  <p:tags r:id="rId34"/>
                </p:custDataLst>
              </p:nvPr>
            </p:nvSpPr>
            <p:spPr bwMode="gray">
              <a:xfrm>
                <a:off x="9684710" y="3429000"/>
                <a:ext cx="2880000" cy="2880000"/>
              </a:xfrm>
              <a:prstGeom prst="ellipse">
                <a:avLst/>
              </a:prstGeom>
              <a:solidFill>
                <a:srgbClr val="485C6A"/>
              </a:solidFill>
              <a:ln w="19050">
                <a:solidFill>
                  <a:srgbClr val="FFFFFF"/>
                </a:solidFill>
              </a:ln>
              <a:effectLst/>
            </p:spPr>
            <p:txBody>
              <a:bodyPr vert="horz" wrap="square" lIns="90000" tIns="46800" rIns="90000" bIns="46800" rtlCol="0" anchor="ctr" anchorCtr="0">
                <a:noAutofit/>
              </a:bodyPr>
              <a:lstStyle>
                <a:defPPr>
                  <a:defRPr lang="en-US"/>
                </a:defPPr>
                <a:lvl1pPr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SzPct val="100000"/>
                  <a:defRPr sz="1600">
                    <a:solidFill>
                      <a:schemeClr val="bg1"/>
                    </a:solidFill>
                  </a:defRPr>
                </a:lvl1pPr>
              </a:lstStyle>
              <a:p>
                <a:pPr marL="0" marR="0" lvl="0" indent="0" algn="ctr" defTabSz="91437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4A4A4A"/>
                  </a:buClr>
                  <a:buSzPct val="100000"/>
                  <a:buFontTx/>
                  <a:buNone/>
                  <a:tabLst/>
                  <a:defRPr/>
                </a:pPr>
                <a:endParaRPr kumimoji="0" lang="de-DE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87" name="Rechteck 86">
                <a:extLst>
                  <a:ext uri="{FF2B5EF4-FFF2-40B4-BE49-F238E27FC236}">
                    <a16:creationId xmlns:a16="http://schemas.microsoft.com/office/drawing/2014/main" id="{36BA52F7-171B-4C46-B69F-F33836BEEF62}"/>
                  </a:ext>
                </a:extLst>
              </p:cNvPr>
              <p:cNvSpPr/>
              <p:nvPr/>
            </p:nvSpPr>
            <p:spPr bwMode="gray">
              <a:xfrm>
                <a:off x="9684710" y="3429000"/>
                <a:ext cx="1440000" cy="288000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1" name="Textfeld 60">
              <a:extLst>
                <a:ext uri="{FF2B5EF4-FFF2-40B4-BE49-F238E27FC236}">
                  <a16:creationId xmlns:a16="http://schemas.microsoft.com/office/drawing/2014/main" id="{F7BEF031-085F-44E9-A5A9-4197C21FE623}"/>
                </a:ext>
              </a:extLst>
            </p:cNvPr>
            <p:cNvSpPr txBox="1"/>
            <p:nvPr>
              <p:custDataLst>
                <p:tags r:id="rId11"/>
              </p:custDataLst>
            </p:nvPr>
          </p:nvSpPr>
          <p:spPr bwMode="gray">
            <a:xfrm>
              <a:off x="7430413" y="5675877"/>
              <a:ext cx="386084" cy="386084"/>
            </a:xfrm>
            <a:prstGeom prst="ellipse">
              <a:avLst/>
            </a:prstGeom>
            <a:solidFill>
              <a:srgbClr val="485C6A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9E51D79B-2793-4C31-83FA-E3C8D8768B81}"/>
                </a:ext>
              </a:extLst>
            </p:cNvPr>
            <p:cNvSpPr txBox="1"/>
            <p:nvPr>
              <p:custDataLst>
                <p:tags r:id="rId12"/>
              </p:custDataLst>
            </p:nvPr>
          </p:nvSpPr>
          <p:spPr bwMode="gray">
            <a:xfrm>
              <a:off x="5320469" y="5864614"/>
              <a:ext cx="386084" cy="386084"/>
            </a:xfrm>
            <a:prstGeom prst="ellipse">
              <a:avLst/>
            </a:prstGeom>
            <a:solidFill>
              <a:srgbClr val="485C6A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38355CCD-6A14-4DB2-99D9-632F50EBBA27}"/>
                </a:ext>
              </a:extLst>
            </p:cNvPr>
            <p:cNvSpPr txBox="1"/>
            <p:nvPr>
              <p:custDataLst>
                <p:tags r:id="rId13"/>
              </p:custDataLst>
            </p:nvPr>
          </p:nvSpPr>
          <p:spPr bwMode="gray">
            <a:xfrm>
              <a:off x="4678386" y="1987337"/>
              <a:ext cx="220620" cy="220620"/>
            </a:xfrm>
            <a:prstGeom prst="ellipse">
              <a:avLst/>
            </a:prstGeom>
            <a:solidFill>
              <a:srgbClr val="485C69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4" name="Textfeld 63">
              <a:extLst>
                <a:ext uri="{FF2B5EF4-FFF2-40B4-BE49-F238E27FC236}">
                  <a16:creationId xmlns:a16="http://schemas.microsoft.com/office/drawing/2014/main" id="{4CE8564D-6F4E-47FA-8588-3D345D0B7B97}"/>
                </a:ext>
              </a:extLst>
            </p:cNvPr>
            <p:cNvSpPr txBox="1"/>
            <p:nvPr>
              <p:custDataLst>
                <p:tags r:id="rId14"/>
              </p:custDataLst>
            </p:nvPr>
          </p:nvSpPr>
          <p:spPr bwMode="gray">
            <a:xfrm>
              <a:off x="5825322" y="2245890"/>
              <a:ext cx="220620" cy="220620"/>
            </a:xfrm>
            <a:prstGeom prst="ellipse">
              <a:avLst/>
            </a:prstGeom>
            <a:solidFill>
              <a:srgbClr val="485C69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FAC464DD-1C8C-449D-B304-106F46E78471}"/>
                </a:ext>
              </a:extLst>
            </p:cNvPr>
            <p:cNvSpPr txBox="1"/>
            <p:nvPr>
              <p:custDataLst>
                <p:tags r:id="rId15"/>
              </p:custDataLst>
            </p:nvPr>
          </p:nvSpPr>
          <p:spPr bwMode="gray">
            <a:xfrm>
              <a:off x="7888458" y="2389070"/>
              <a:ext cx="220620" cy="220620"/>
            </a:xfrm>
            <a:prstGeom prst="ellipse">
              <a:avLst/>
            </a:prstGeom>
            <a:solidFill>
              <a:srgbClr val="485C69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6" name="Textfeld 65">
              <a:extLst>
                <a:ext uri="{FF2B5EF4-FFF2-40B4-BE49-F238E27FC236}">
                  <a16:creationId xmlns:a16="http://schemas.microsoft.com/office/drawing/2014/main" id="{7E8D2C71-4C3B-4CA9-8FAA-D0785F119C53}"/>
                </a:ext>
              </a:extLst>
            </p:cNvPr>
            <p:cNvSpPr txBox="1"/>
            <p:nvPr>
              <p:custDataLst>
                <p:tags r:id="rId16"/>
              </p:custDataLst>
            </p:nvPr>
          </p:nvSpPr>
          <p:spPr bwMode="gray">
            <a:xfrm>
              <a:off x="6798143" y="2739234"/>
              <a:ext cx="220620" cy="220620"/>
            </a:xfrm>
            <a:prstGeom prst="ellipse">
              <a:avLst/>
            </a:prstGeom>
            <a:solidFill>
              <a:srgbClr val="485C69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67" name="Textfeld 66">
              <a:extLst>
                <a:ext uri="{FF2B5EF4-FFF2-40B4-BE49-F238E27FC236}">
                  <a16:creationId xmlns:a16="http://schemas.microsoft.com/office/drawing/2014/main" id="{F44DF56E-2C19-480D-962D-4B335710C7C8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 bwMode="gray">
            <a:xfrm>
              <a:off x="8223360" y="3030135"/>
              <a:ext cx="220620" cy="220620"/>
            </a:xfrm>
            <a:prstGeom prst="ellipse">
              <a:avLst/>
            </a:prstGeom>
            <a:solidFill>
              <a:srgbClr val="485C69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68" name="Gruppieren 67">
              <a:extLst>
                <a:ext uri="{FF2B5EF4-FFF2-40B4-BE49-F238E27FC236}">
                  <a16:creationId xmlns:a16="http://schemas.microsoft.com/office/drawing/2014/main" id="{58494F1B-6DA7-4225-AB1E-994E3DB535B3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9403337" y="3043938"/>
              <a:ext cx="220620" cy="220620"/>
              <a:chOff x="9684710" y="3429000"/>
              <a:chExt cx="2880000" cy="2880000"/>
            </a:xfrm>
          </p:grpSpPr>
          <p:sp>
            <p:nvSpPr>
              <p:cNvPr id="84" name="Textfeld 83">
                <a:extLst>
                  <a:ext uri="{FF2B5EF4-FFF2-40B4-BE49-F238E27FC236}">
                    <a16:creationId xmlns:a16="http://schemas.microsoft.com/office/drawing/2014/main" id="{CCD0C658-294E-48B6-97ED-F69C82A37521}"/>
                  </a:ext>
                </a:extLst>
              </p:cNvPr>
              <p:cNvSpPr txBox="1"/>
              <p:nvPr>
                <p:custDataLst>
                  <p:tags r:id="rId33"/>
                </p:custDataLst>
              </p:nvPr>
            </p:nvSpPr>
            <p:spPr bwMode="gray">
              <a:xfrm>
                <a:off x="9684710" y="3429000"/>
                <a:ext cx="2880000" cy="2880000"/>
              </a:xfrm>
              <a:prstGeom prst="ellipse">
                <a:avLst/>
              </a:prstGeom>
              <a:solidFill>
                <a:srgbClr val="485C69"/>
              </a:solidFill>
              <a:ln w="19050">
                <a:solidFill>
                  <a:srgbClr val="FFFFFF"/>
                </a:solidFill>
              </a:ln>
              <a:effectLst/>
            </p:spPr>
            <p:txBody>
              <a:bodyPr vert="horz" wrap="square" lIns="90000" tIns="46800" rIns="90000" bIns="46800" rtlCol="0" anchor="ctr" anchorCtr="0">
                <a:noAutofit/>
              </a:bodyPr>
              <a:lstStyle>
                <a:defPPr>
                  <a:defRPr lang="en-US"/>
                </a:defPPr>
                <a:lvl1pPr>
                  <a:spcBef>
                    <a:spcPts val="300"/>
                  </a:spcBef>
                  <a:spcAft>
                    <a:spcPts val="300"/>
                  </a:spcAft>
                  <a:buClr>
                    <a:schemeClr val="tx2"/>
                  </a:buClr>
                  <a:buSzPct val="100000"/>
                  <a:defRPr sz="1600">
                    <a:solidFill>
                      <a:schemeClr val="bg1"/>
                    </a:solidFill>
                  </a:defRPr>
                </a:lvl1pPr>
              </a:lstStyle>
              <a:p>
                <a:pPr marL="0" marR="0" lvl="0" indent="0" algn="ctr" defTabSz="91437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4A4A4A"/>
                  </a:buClr>
                  <a:buSzPct val="100000"/>
                  <a:buFontTx/>
                  <a:buNone/>
                  <a:tabLst/>
                  <a:defRPr/>
                </a:pPr>
                <a:endParaRPr kumimoji="0" lang="de-DE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85" name="Rechteck 84">
                <a:extLst>
                  <a:ext uri="{FF2B5EF4-FFF2-40B4-BE49-F238E27FC236}">
                    <a16:creationId xmlns:a16="http://schemas.microsoft.com/office/drawing/2014/main" id="{0C8E5A85-7F53-40D8-A966-AA7E4551F869}"/>
                  </a:ext>
                </a:extLst>
              </p:cNvPr>
              <p:cNvSpPr/>
              <p:nvPr/>
            </p:nvSpPr>
            <p:spPr bwMode="gray">
              <a:xfrm>
                <a:off x="9684710" y="3429000"/>
                <a:ext cx="1440000" cy="288000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miter lim="800000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3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9" name="Textfeld 68">
              <a:extLst>
                <a:ext uri="{FF2B5EF4-FFF2-40B4-BE49-F238E27FC236}">
                  <a16:creationId xmlns:a16="http://schemas.microsoft.com/office/drawing/2014/main" id="{C979A6AC-5775-4522-B8E1-C2CCE51E673F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5874545" y="4737238"/>
              <a:ext cx="220620" cy="220620"/>
            </a:xfrm>
            <a:prstGeom prst="ellipse">
              <a:avLst/>
            </a:prstGeom>
            <a:solidFill>
              <a:srgbClr val="485C69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0" name="Textfeld 69">
              <a:extLst>
                <a:ext uri="{FF2B5EF4-FFF2-40B4-BE49-F238E27FC236}">
                  <a16:creationId xmlns:a16="http://schemas.microsoft.com/office/drawing/2014/main" id="{79B5E63E-70A0-4D9A-BAE6-E2D967D4F978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 bwMode="gray">
            <a:xfrm>
              <a:off x="6157506" y="5728512"/>
              <a:ext cx="220620" cy="220620"/>
            </a:xfrm>
            <a:prstGeom prst="ellipse">
              <a:avLst/>
            </a:prstGeom>
            <a:solidFill>
              <a:srgbClr val="485C69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1" name="Textfeld 70">
              <a:extLst>
                <a:ext uri="{FF2B5EF4-FFF2-40B4-BE49-F238E27FC236}">
                  <a16:creationId xmlns:a16="http://schemas.microsoft.com/office/drawing/2014/main" id="{D55D3E8C-E267-4CAF-8BBC-445AACBB8F93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6843063" y="5803722"/>
              <a:ext cx="220620" cy="220620"/>
            </a:xfrm>
            <a:prstGeom prst="ellipse">
              <a:avLst/>
            </a:prstGeom>
            <a:solidFill>
              <a:srgbClr val="485C69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2" name="Textfeld 71">
              <a:extLst>
                <a:ext uri="{FF2B5EF4-FFF2-40B4-BE49-F238E27FC236}">
                  <a16:creationId xmlns:a16="http://schemas.microsoft.com/office/drawing/2014/main" id="{7BB933C3-B132-4550-ABDE-2F59A2D61867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 bwMode="gray">
            <a:xfrm>
              <a:off x="4464699" y="4561783"/>
              <a:ext cx="220620" cy="220620"/>
            </a:xfrm>
            <a:prstGeom prst="ellipse">
              <a:avLst/>
            </a:prstGeom>
            <a:solidFill>
              <a:srgbClr val="485C69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3" name="Textfeld 72">
              <a:extLst>
                <a:ext uri="{FF2B5EF4-FFF2-40B4-BE49-F238E27FC236}">
                  <a16:creationId xmlns:a16="http://schemas.microsoft.com/office/drawing/2014/main" id="{E3EFDA84-3A7A-492D-96B1-017732481E12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4115071" y="3175750"/>
              <a:ext cx="220620" cy="220620"/>
            </a:xfrm>
            <a:prstGeom prst="ellipse">
              <a:avLst/>
            </a:prstGeom>
            <a:solidFill>
              <a:srgbClr val="485C69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BEBCDEB8-FC16-4C39-9EC9-894154C74FA2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 bwMode="gray">
            <a:xfrm>
              <a:off x="2927914" y="3629085"/>
              <a:ext cx="220620" cy="220620"/>
            </a:xfrm>
            <a:prstGeom prst="ellipse">
              <a:avLst/>
            </a:prstGeom>
            <a:solidFill>
              <a:srgbClr val="485C69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5" name="Textfeld 74">
              <a:extLst>
                <a:ext uri="{FF2B5EF4-FFF2-40B4-BE49-F238E27FC236}">
                  <a16:creationId xmlns:a16="http://schemas.microsoft.com/office/drawing/2014/main" id="{90C847DE-B433-4FCB-AF94-7EE92764A902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2872758" y="5432857"/>
              <a:ext cx="220620" cy="220620"/>
            </a:xfrm>
            <a:prstGeom prst="ellipse">
              <a:avLst/>
            </a:prstGeom>
            <a:solidFill>
              <a:srgbClr val="485C69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80BF751A-F8F7-4BF2-89FF-48A7E69B2782}"/>
                </a:ext>
              </a:extLst>
            </p:cNvPr>
            <p:cNvSpPr txBox="1"/>
            <p:nvPr>
              <p:custDataLst>
                <p:tags r:id="rId26"/>
              </p:custDataLst>
            </p:nvPr>
          </p:nvSpPr>
          <p:spPr bwMode="gray">
            <a:xfrm>
              <a:off x="3677396" y="5371604"/>
              <a:ext cx="220620" cy="220620"/>
            </a:xfrm>
            <a:prstGeom prst="ellipse">
              <a:avLst/>
            </a:prstGeom>
            <a:solidFill>
              <a:srgbClr val="485C69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7" name="Textfeld 76">
              <a:extLst>
                <a:ext uri="{FF2B5EF4-FFF2-40B4-BE49-F238E27FC236}">
                  <a16:creationId xmlns:a16="http://schemas.microsoft.com/office/drawing/2014/main" id="{7BC16FE0-1560-4A87-B992-6D3E07F3EFDE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 bwMode="gray">
            <a:xfrm>
              <a:off x="7196920" y="3298380"/>
              <a:ext cx="937633" cy="937633"/>
            </a:xfrm>
            <a:prstGeom prst="ellipse">
              <a:avLst/>
            </a:prstGeom>
            <a:solidFill>
              <a:srgbClr val="485C6A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8" name="Rechteck 77">
              <a:extLst>
                <a:ext uri="{FF2B5EF4-FFF2-40B4-BE49-F238E27FC236}">
                  <a16:creationId xmlns:a16="http://schemas.microsoft.com/office/drawing/2014/main" id="{10B9A96F-440F-466C-A4A5-3AEC719214E4}"/>
                </a:ext>
              </a:extLst>
            </p:cNvPr>
            <p:cNvSpPr/>
            <p:nvPr/>
          </p:nvSpPr>
          <p:spPr bwMode="gray">
            <a:xfrm>
              <a:off x="7196005" y="3295981"/>
              <a:ext cx="468816" cy="93763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Textfeld 78">
              <a:extLst>
                <a:ext uri="{FF2B5EF4-FFF2-40B4-BE49-F238E27FC236}">
                  <a16:creationId xmlns:a16="http://schemas.microsoft.com/office/drawing/2014/main" id="{037175D6-210B-4039-9921-07BC31CFB011}"/>
                </a:ext>
              </a:extLst>
            </p:cNvPr>
            <p:cNvSpPr txBox="1"/>
            <p:nvPr>
              <p:custDataLst>
                <p:tags r:id="rId28"/>
              </p:custDataLst>
            </p:nvPr>
          </p:nvSpPr>
          <p:spPr bwMode="gray">
            <a:xfrm>
              <a:off x="3214055" y="2260011"/>
              <a:ext cx="550954" cy="550953"/>
            </a:xfrm>
            <a:prstGeom prst="ellipse">
              <a:avLst/>
            </a:prstGeom>
            <a:solidFill>
              <a:srgbClr val="485C6A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0" name="Textfeld 79">
              <a:extLst>
                <a:ext uri="{FF2B5EF4-FFF2-40B4-BE49-F238E27FC236}">
                  <a16:creationId xmlns:a16="http://schemas.microsoft.com/office/drawing/2014/main" id="{507416F8-FBDA-46A1-9C66-1F6540942D7E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 bwMode="gray">
            <a:xfrm>
              <a:off x="1864131" y="4279336"/>
              <a:ext cx="554946" cy="554946"/>
            </a:xfrm>
            <a:prstGeom prst="ellipse">
              <a:avLst/>
            </a:prstGeom>
            <a:solidFill>
              <a:srgbClr val="485C6A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82A51D44-7AEE-4258-8FBA-DD69EF85E1E0}"/>
                </a:ext>
              </a:extLst>
            </p:cNvPr>
            <p:cNvSpPr txBox="1"/>
            <p:nvPr>
              <p:custDataLst>
                <p:tags r:id="rId30"/>
              </p:custDataLst>
            </p:nvPr>
          </p:nvSpPr>
          <p:spPr bwMode="gray">
            <a:xfrm>
              <a:off x="5571430" y="1375185"/>
              <a:ext cx="607253" cy="607253"/>
            </a:xfrm>
            <a:prstGeom prst="ellipse">
              <a:avLst/>
            </a:prstGeom>
            <a:solidFill>
              <a:srgbClr val="485C6A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2" name="Textfeld 81">
              <a:extLst>
                <a:ext uri="{FF2B5EF4-FFF2-40B4-BE49-F238E27FC236}">
                  <a16:creationId xmlns:a16="http://schemas.microsoft.com/office/drawing/2014/main" id="{F59A5341-F9C8-438C-9D25-13A667DBCE0C}"/>
                </a:ext>
              </a:extLst>
            </p:cNvPr>
            <p:cNvSpPr txBox="1"/>
            <p:nvPr>
              <p:custDataLst>
                <p:tags r:id="rId31"/>
              </p:custDataLst>
            </p:nvPr>
          </p:nvSpPr>
          <p:spPr bwMode="gray">
            <a:xfrm>
              <a:off x="2284287" y="2989906"/>
              <a:ext cx="472051" cy="472051"/>
            </a:xfrm>
            <a:prstGeom prst="ellipse">
              <a:avLst/>
            </a:prstGeom>
            <a:solidFill>
              <a:srgbClr val="485C6A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3" name="Textfeld 82">
              <a:extLst>
                <a:ext uri="{FF2B5EF4-FFF2-40B4-BE49-F238E27FC236}">
                  <a16:creationId xmlns:a16="http://schemas.microsoft.com/office/drawing/2014/main" id="{B2CAFCBA-E55C-4D46-ABC4-ACA9D57E4348}"/>
                </a:ext>
              </a:extLst>
            </p:cNvPr>
            <p:cNvSpPr txBox="1"/>
            <p:nvPr>
              <p:custDataLst>
                <p:tags r:id="rId32"/>
              </p:custDataLst>
            </p:nvPr>
          </p:nvSpPr>
          <p:spPr bwMode="gray">
            <a:xfrm>
              <a:off x="9693847" y="4605348"/>
              <a:ext cx="220620" cy="220620"/>
            </a:xfrm>
            <a:prstGeom prst="ellipse">
              <a:avLst/>
            </a:prstGeom>
            <a:solidFill>
              <a:srgbClr val="485C69"/>
            </a:solidFill>
            <a:ln w="19050">
              <a:solidFill>
                <a:srgbClr val="FFFFFF"/>
              </a:solidFill>
            </a:ln>
            <a:effectLst/>
          </p:spPr>
          <p:txBody>
            <a:bodyPr vert="horz" wrap="square" lIns="90000" tIns="46800" rIns="90000" bIns="46800" rtlCol="0" anchor="ctr" anchorCtr="0">
              <a:noAutofit/>
            </a:bodyPr>
            <a:lstStyle>
              <a:defPPr>
                <a:defRPr lang="en-US"/>
              </a:defPPr>
              <a:lvl1pPr>
                <a:spcBef>
                  <a:spcPts val="300"/>
                </a:spcBef>
                <a:spcAft>
                  <a:spcPts val="300"/>
                </a:spcAft>
                <a:buClr>
                  <a:schemeClr val="tx2"/>
                </a:buClr>
                <a:buSzPct val="100000"/>
                <a:defRPr sz="1600">
                  <a:solidFill>
                    <a:schemeClr val="bg1"/>
                  </a:solidFill>
                </a:defRPr>
              </a:lvl1pPr>
            </a:lstStyle>
            <a:p>
              <a:pPr marL="0" marR="0" lvl="0" indent="0" algn="ctr" defTabSz="91437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4A4A4A"/>
                </a:buClr>
                <a:buSzPct val="100000"/>
                <a:buFontTx/>
                <a:buNone/>
                <a:tabLst/>
                <a:defRPr/>
              </a:pPr>
              <a:endPara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65" name="Rechteck 164">
            <a:extLst>
              <a:ext uri="{FF2B5EF4-FFF2-40B4-BE49-F238E27FC236}">
                <a16:creationId xmlns:a16="http://schemas.microsoft.com/office/drawing/2014/main" id="{C6F2DE51-AEEE-458A-9892-5DBC3332FB99}"/>
              </a:ext>
            </a:extLst>
          </p:cNvPr>
          <p:cNvSpPr/>
          <p:nvPr/>
        </p:nvSpPr>
        <p:spPr>
          <a:xfrm>
            <a:off x="882816" y="2343552"/>
            <a:ext cx="1413311" cy="328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solidFill>
                  <a:schemeClr val="tx1"/>
                </a:solidFill>
              </a:rPr>
              <a:t>Forschungsinstitute &amp; Universitäten</a:t>
            </a:r>
          </a:p>
        </p:txBody>
      </p:sp>
      <p:sp>
        <p:nvSpPr>
          <p:cNvPr id="166" name="Rechteck 165">
            <a:extLst>
              <a:ext uri="{FF2B5EF4-FFF2-40B4-BE49-F238E27FC236}">
                <a16:creationId xmlns:a16="http://schemas.microsoft.com/office/drawing/2014/main" id="{6C767760-949F-4C81-9AA0-7BAECD0423B6}"/>
              </a:ext>
            </a:extLst>
          </p:cNvPr>
          <p:cNvSpPr/>
          <p:nvPr/>
        </p:nvSpPr>
        <p:spPr>
          <a:xfrm>
            <a:off x="1723376" y="4351969"/>
            <a:ext cx="795403" cy="328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solidFill>
                  <a:schemeClr val="tx1"/>
                </a:solidFill>
              </a:rPr>
              <a:t>Verbände &amp; Messen</a:t>
            </a:r>
          </a:p>
        </p:txBody>
      </p:sp>
      <p:sp>
        <p:nvSpPr>
          <p:cNvPr id="174" name="Rechteck 173">
            <a:extLst>
              <a:ext uri="{FF2B5EF4-FFF2-40B4-BE49-F238E27FC236}">
                <a16:creationId xmlns:a16="http://schemas.microsoft.com/office/drawing/2014/main" id="{E5D38A82-6C29-4D6A-865A-F1F03F0079B1}"/>
              </a:ext>
            </a:extLst>
          </p:cNvPr>
          <p:cNvSpPr/>
          <p:nvPr/>
        </p:nvSpPr>
        <p:spPr>
          <a:xfrm>
            <a:off x="934639" y="3484608"/>
            <a:ext cx="850380" cy="328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solidFill>
                  <a:schemeClr val="tx1"/>
                </a:solidFill>
              </a:rPr>
              <a:t>Wirtschaft &amp; Industrie</a:t>
            </a:r>
          </a:p>
        </p:txBody>
      </p:sp>
      <p:sp>
        <p:nvSpPr>
          <p:cNvPr id="175" name="Rechteck 174">
            <a:extLst>
              <a:ext uri="{FF2B5EF4-FFF2-40B4-BE49-F238E27FC236}">
                <a16:creationId xmlns:a16="http://schemas.microsoft.com/office/drawing/2014/main" id="{A42CA926-7566-487A-A18D-54DC5D6B9397}"/>
              </a:ext>
            </a:extLst>
          </p:cNvPr>
          <p:cNvSpPr/>
          <p:nvPr/>
        </p:nvSpPr>
        <p:spPr>
          <a:xfrm>
            <a:off x="4038684" y="1072954"/>
            <a:ext cx="1361893" cy="328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solidFill>
                  <a:schemeClr val="tx1"/>
                </a:solidFill>
              </a:rPr>
              <a:t>BMVg &amp; </a:t>
            </a:r>
          </a:p>
          <a:p>
            <a:r>
              <a:rPr lang="de-DE" sz="1000" b="1" dirty="0">
                <a:solidFill>
                  <a:schemeClr val="tx1"/>
                </a:solidFill>
              </a:rPr>
              <a:t>GB BMVg</a:t>
            </a:r>
          </a:p>
        </p:txBody>
      </p:sp>
      <p:sp>
        <p:nvSpPr>
          <p:cNvPr id="177" name="Rechteck 176">
            <a:extLst>
              <a:ext uri="{FF2B5EF4-FFF2-40B4-BE49-F238E27FC236}">
                <a16:creationId xmlns:a16="http://schemas.microsoft.com/office/drawing/2014/main" id="{173677BE-B3A2-4248-871F-F75DE4863940}"/>
              </a:ext>
            </a:extLst>
          </p:cNvPr>
          <p:cNvSpPr/>
          <p:nvPr/>
        </p:nvSpPr>
        <p:spPr>
          <a:xfrm>
            <a:off x="6848339" y="3884367"/>
            <a:ext cx="2197523" cy="3085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solidFill>
                  <a:schemeClr val="tx1"/>
                </a:solidFill>
              </a:rPr>
              <a:t>Innovationseinheiten / Technologie Center </a:t>
            </a:r>
            <a:r>
              <a:rPr lang="de-DE" sz="700" b="1" dirty="0">
                <a:solidFill>
                  <a:schemeClr val="tx1"/>
                </a:solidFill>
              </a:rPr>
              <a:t> </a:t>
            </a:r>
            <a:r>
              <a:rPr lang="de-DE" sz="1000" b="1" dirty="0">
                <a:solidFill>
                  <a:schemeClr val="tx1"/>
                </a:solidFill>
              </a:rPr>
              <a:t>BWI</a:t>
            </a:r>
          </a:p>
        </p:txBody>
      </p:sp>
      <p:sp>
        <p:nvSpPr>
          <p:cNvPr id="178" name="Rechteck 177">
            <a:extLst>
              <a:ext uri="{FF2B5EF4-FFF2-40B4-BE49-F238E27FC236}">
                <a16:creationId xmlns:a16="http://schemas.microsoft.com/office/drawing/2014/main" id="{81D9FA27-0FC2-482D-A4AB-06D3ADD8FC04}"/>
              </a:ext>
            </a:extLst>
          </p:cNvPr>
          <p:cNvSpPr/>
          <p:nvPr/>
        </p:nvSpPr>
        <p:spPr>
          <a:xfrm>
            <a:off x="7243671" y="3049173"/>
            <a:ext cx="1221269" cy="3696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solidFill>
                  <a:schemeClr val="tx1"/>
                </a:solidFill>
              </a:rPr>
              <a:t>Ressorts, EU, NATO, andere Streitkräfte, int. Organisationen</a:t>
            </a:r>
          </a:p>
        </p:txBody>
      </p:sp>
      <p:sp>
        <p:nvSpPr>
          <p:cNvPr id="179" name="Rechteck 178">
            <a:extLst>
              <a:ext uri="{FF2B5EF4-FFF2-40B4-BE49-F238E27FC236}">
                <a16:creationId xmlns:a16="http://schemas.microsoft.com/office/drawing/2014/main" id="{6C91504E-6F52-4FD5-917F-6E68D25CB452}"/>
              </a:ext>
            </a:extLst>
          </p:cNvPr>
          <p:cNvSpPr/>
          <p:nvPr/>
        </p:nvSpPr>
        <p:spPr>
          <a:xfrm>
            <a:off x="2105943" y="1621608"/>
            <a:ext cx="1287984" cy="328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solidFill>
                  <a:schemeClr val="tx1"/>
                </a:solidFill>
              </a:rPr>
              <a:t>Ressortforschung GB BMVg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4FA9E9B-7831-4F1D-A8E3-D03BAA3CD2CB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8604" y="2913109"/>
            <a:ext cx="345107" cy="288753"/>
          </a:xfrm>
          <a:prstGeom prst="rect">
            <a:avLst/>
          </a:prstGeom>
        </p:spPr>
      </p:pic>
      <p:pic>
        <p:nvPicPr>
          <p:cNvPr id="288" name="Grafik 287">
            <a:extLst>
              <a:ext uri="{FF2B5EF4-FFF2-40B4-BE49-F238E27FC236}">
                <a16:creationId xmlns:a16="http://schemas.microsoft.com/office/drawing/2014/main" id="{D326EA39-5374-4B7C-ABD6-AA92B539E417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115" y="2709366"/>
            <a:ext cx="810686" cy="141340"/>
          </a:xfrm>
          <a:prstGeom prst="rect">
            <a:avLst/>
          </a:prstGeom>
        </p:spPr>
      </p:pic>
      <p:pic>
        <p:nvPicPr>
          <p:cNvPr id="289" name="Grafik 288">
            <a:extLst>
              <a:ext uri="{FF2B5EF4-FFF2-40B4-BE49-F238E27FC236}">
                <a16:creationId xmlns:a16="http://schemas.microsoft.com/office/drawing/2014/main" id="{633C048A-DB55-418E-A168-076719ECD9A2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245" y="2878852"/>
            <a:ext cx="458548" cy="347643"/>
          </a:xfrm>
          <a:prstGeom prst="rect">
            <a:avLst/>
          </a:prstGeom>
        </p:spPr>
      </p:pic>
      <p:pic>
        <p:nvPicPr>
          <p:cNvPr id="290" name="Grafik 289">
            <a:extLst>
              <a:ext uri="{FF2B5EF4-FFF2-40B4-BE49-F238E27FC236}">
                <a16:creationId xmlns:a16="http://schemas.microsoft.com/office/drawing/2014/main" id="{E1488508-8DF1-4DB0-B414-E8BBB05B1946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1597" y="1396587"/>
            <a:ext cx="1094158" cy="223641"/>
          </a:xfrm>
          <a:prstGeom prst="rect">
            <a:avLst/>
          </a:prstGeom>
        </p:spPr>
      </p:pic>
      <p:pic>
        <p:nvPicPr>
          <p:cNvPr id="291" name="Grafik 290">
            <a:extLst>
              <a:ext uri="{FF2B5EF4-FFF2-40B4-BE49-F238E27FC236}">
                <a16:creationId xmlns:a16="http://schemas.microsoft.com/office/drawing/2014/main" id="{034AE218-5C89-4FF4-AFBE-65F628983B3C}"/>
              </a:ext>
            </a:extLst>
          </p:cNvPr>
          <p:cNvPicPr>
            <a:picLocks noChangeAspect="1"/>
          </p:cNvPicPr>
          <p:nvPr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9833" y="1357848"/>
            <a:ext cx="682852" cy="473388"/>
          </a:xfrm>
          <a:prstGeom prst="rect">
            <a:avLst/>
          </a:prstGeom>
        </p:spPr>
      </p:pic>
      <p:pic>
        <p:nvPicPr>
          <p:cNvPr id="294" name="Grafik 293">
            <a:extLst>
              <a:ext uri="{FF2B5EF4-FFF2-40B4-BE49-F238E27FC236}">
                <a16:creationId xmlns:a16="http://schemas.microsoft.com/office/drawing/2014/main" id="{9DDB2BDA-8008-4DB8-9F69-A40460E741B7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9293" y="2514444"/>
            <a:ext cx="355849" cy="357290"/>
          </a:xfrm>
          <a:prstGeom prst="rect">
            <a:avLst/>
          </a:prstGeom>
        </p:spPr>
      </p:pic>
      <p:pic>
        <p:nvPicPr>
          <p:cNvPr id="295" name="Grafik 294">
            <a:extLst>
              <a:ext uri="{FF2B5EF4-FFF2-40B4-BE49-F238E27FC236}">
                <a16:creationId xmlns:a16="http://schemas.microsoft.com/office/drawing/2014/main" id="{E4DDD246-CD11-454A-85DE-8199B8ADBDB6}"/>
              </a:ext>
            </a:extLst>
          </p:cNvPr>
          <p:cNvPicPr>
            <a:picLocks noChangeAspect="1"/>
          </p:cNvPicPr>
          <p:nvPr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7495" y="2536278"/>
            <a:ext cx="630594" cy="321922"/>
          </a:xfrm>
          <a:prstGeom prst="rect">
            <a:avLst/>
          </a:prstGeom>
        </p:spPr>
      </p:pic>
      <p:pic>
        <p:nvPicPr>
          <p:cNvPr id="296" name="Grafik 295">
            <a:extLst>
              <a:ext uri="{FF2B5EF4-FFF2-40B4-BE49-F238E27FC236}">
                <a16:creationId xmlns:a16="http://schemas.microsoft.com/office/drawing/2014/main" id="{AE40E0BC-4985-4814-8080-E7E6D08EC3F3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3107" y="2536278"/>
            <a:ext cx="481801" cy="320400"/>
          </a:xfrm>
          <a:prstGeom prst="rect">
            <a:avLst/>
          </a:prstGeom>
        </p:spPr>
      </p:pic>
      <p:pic>
        <p:nvPicPr>
          <p:cNvPr id="298" name="Grafik 297">
            <a:extLst>
              <a:ext uri="{FF2B5EF4-FFF2-40B4-BE49-F238E27FC236}">
                <a16:creationId xmlns:a16="http://schemas.microsoft.com/office/drawing/2014/main" id="{EA756649-96F9-4C49-A930-2F8FFB04DA34}"/>
              </a:ext>
            </a:extLst>
          </p:cNvPr>
          <p:cNvPicPr>
            <a:picLocks noChangeAspect="1"/>
          </p:cNvPicPr>
          <p:nvPr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1703" y="4240126"/>
            <a:ext cx="626988" cy="365422"/>
          </a:xfrm>
          <a:prstGeom prst="rect">
            <a:avLst/>
          </a:prstGeom>
        </p:spPr>
      </p:pic>
      <p:pic>
        <p:nvPicPr>
          <p:cNvPr id="162" name="Grafik 161">
            <a:extLst>
              <a:ext uri="{FF2B5EF4-FFF2-40B4-BE49-F238E27FC236}">
                <a16:creationId xmlns:a16="http://schemas.microsoft.com/office/drawing/2014/main" id="{D1208B55-7BD5-48E2-B19F-82F72B7ADE4D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3769" y="4646581"/>
            <a:ext cx="861479" cy="248540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855E9FFC-2102-4389-9B0D-89C39F4287E0}"/>
              </a:ext>
            </a:extLst>
          </p:cNvPr>
          <p:cNvPicPr>
            <a:picLocks noChangeAspect="1"/>
          </p:cNvPicPr>
          <p:nvPr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2185" y="1577194"/>
            <a:ext cx="388207" cy="39837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E96F143-A524-4270-98FE-3E13F3095225}"/>
              </a:ext>
            </a:extLst>
          </p:cNvPr>
          <p:cNvPicPr>
            <a:picLocks noChangeAspect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960" y="1568279"/>
            <a:ext cx="386892" cy="394553"/>
          </a:xfrm>
          <a:prstGeom prst="rect">
            <a:avLst/>
          </a:prstGeom>
        </p:spPr>
      </p:pic>
      <p:grpSp>
        <p:nvGrpSpPr>
          <p:cNvPr id="163" name="Gruppieren 162">
            <a:extLst>
              <a:ext uri="{FF2B5EF4-FFF2-40B4-BE49-F238E27FC236}">
                <a16:creationId xmlns:a16="http://schemas.microsoft.com/office/drawing/2014/main" id="{371E426D-5562-4E5E-8EDB-6D61C79328C2}"/>
              </a:ext>
            </a:extLst>
          </p:cNvPr>
          <p:cNvGrpSpPr>
            <a:grpSpLocks noChangeAspect="1"/>
          </p:cNvGrpSpPr>
          <p:nvPr/>
        </p:nvGrpSpPr>
        <p:grpSpPr>
          <a:xfrm>
            <a:off x="285063" y="3491968"/>
            <a:ext cx="242829" cy="251202"/>
            <a:chOff x="10007525" y="4211592"/>
            <a:chExt cx="552450" cy="571500"/>
          </a:xfrm>
        </p:grpSpPr>
        <p:sp>
          <p:nvSpPr>
            <p:cNvPr id="167" name="Freihandform: Form 4">
              <a:extLst>
                <a:ext uri="{FF2B5EF4-FFF2-40B4-BE49-F238E27FC236}">
                  <a16:creationId xmlns:a16="http://schemas.microsoft.com/office/drawing/2014/main" id="{DAB6C459-4B9B-47F5-8BC0-A1BC5F46C298}"/>
                </a:ext>
              </a:extLst>
            </p:cNvPr>
            <p:cNvSpPr/>
            <p:nvPr/>
          </p:nvSpPr>
          <p:spPr>
            <a:xfrm>
              <a:off x="10007525" y="4383042"/>
              <a:ext cx="552450" cy="400050"/>
            </a:xfrm>
            <a:custGeom>
              <a:avLst/>
              <a:gdLst>
                <a:gd name="connsiteX0" fmla="*/ 381000 w 552450"/>
                <a:gd name="connsiteY0" fmla="*/ 133350 h 400050"/>
                <a:gd name="connsiteX1" fmla="*/ 381000 w 552450"/>
                <a:gd name="connsiteY1" fmla="*/ 0 h 400050"/>
                <a:gd name="connsiteX2" fmla="*/ 190500 w 552450"/>
                <a:gd name="connsiteY2" fmla="*/ 133350 h 400050"/>
                <a:gd name="connsiteX3" fmla="*/ 95250 w 552450"/>
                <a:gd name="connsiteY3" fmla="*/ 0 h 400050"/>
                <a:gd name="connsiteX4" fmla="*/ 0 w 552450"/>
                <a:gd name="connsiteY4" fmla="*/ 0 h 400050"/>
                <a:gd name="connsiteX5" fmla="*/ 0 w 552450"/>
                <a:gd name="connsiteY5" fmla="*/ 400050 h 400050"/>
                <a:gd name="connsiteX6" fmla="*/ 552450 w 552450"/>
                <a:gd name="connsiteY6" fmla="*/ 400050 h 400050"/>
                <a:gd name="connsiteX7" fmla="*/ 552450 w 552450"/>
                <a:gd name="connsiteY7" fmla="*/ 0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52450" h="400050">
                  <a:moveTo>
                    <a:pt x="381000" y="133350"/>
                  </a:moveTo>
                  <a:lnTo>
                    <a:pt x="381000" y="0"/>
                  </a:lnTo>
                  <a:lnTo>
                    <a:pt x="190500" y="133350"/>
                  </a:lnTo>
                  <a:lnTo>
                    <a:pt x="95250" y="0"/>
                  </a:lnTo>
                  <a:lnTo>
                    <a:pt x="0" y="0"/>
                  </a:lnTo>
                  <a:lnTo>
                    <a:pt x="0" y="400050"/>
                  </a:lnTo>
                  <a:lnTo>
                    <a:pt x="552450" y="400050"/>
                  </a:lnTo>
                  <a:lnTo>
                    <a:pt x="552450" y="0"/>
                  </a:ln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8" name="Freihandform: Form 5">
              <a:extLst>
                <a:ext uri="{FF2B5EF4-FFF2-40B4-BE49-F238E27FC236}">
                  <a16:creationId xmlns:a16="http://schemas.microsoft.com/office/drawing/2014/main" id="{6E17A68F-C1E4-49BD-999D-308308171E15}"/>
                </a:ext>
              </a:extLst>
            </p:cNvPr>
            <p:cNvSpPr/>
            <p:nvPr/>
          </p:nvSpPr>
          <p:spPr>
            <a:xfrm>
              <a:off x="10388525" y="4621167"/>
              <a:ext cx="76200" cy="76200"/>
            </a:xfrm>
            <a:custGeom>
              <a:avLst/>
              <a:gdLst>
                <a:gd name="connsiteX0" fmla="*/ 0 w 76200"/>
                <a:gd name="connsiteY0" fmla="*/ 0 h 76200"/>
                <a:gd name="connsiteX1" fmla="*/ 76200 w 76200"/>
                <a:gd name="connsiteY1" fmla="*/ 0 h 76200"/>
                <a:gd name="connsiteX2" fmla="*/ 76200 w 76200"/>
                <a:gd name="connsiteY2" fmla="*/ 76200 h 76200"/>
                <a:gd name="connsiteX3" fmla="*/ 0 w 76200"/>
                <a:gd name="connsiteY3" fmla="*/ 762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76200">
                  <a:moveTo>
                    <a:pt x="0" y="0"/>
                  </a:moveTo>
                  <a:lnTo>
                    <a:pt x="76200" y="0"/>
                  </a:lnTo>
                  <a:lnTo>
                    <a:pt x="76200" y="76200"/>
                  </a:lnTo>
                  <a:lnTo>
                    <a:pt x="0" y="76200"/>
                  </a:ln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9" name="Freihandform: Form 9">
              <a:extLst>
                <a:ext uri="{FF2B5EF4-FFF2-40B4-BE49-F238E27FC236}">
                  <a16:creationId xmlns:a16="http://schemas.microsoft.com/office/drawing/2014/main" id="{1290E67A-8847-4507-AF59-DAC12F570670}"/>
                </a:ext>
              </a:extLst>
            </p:cNvPr>
            <p:cNvSpPr/>
            <p:nvPr/>
          </p:nvSpPr>
          <p:spPr>
            <a:xfrm>
              <a:off x="10236125" y="4621167"/>
              <a:ext cx="76200" cy="76200"/>
            </a:xfrm>
            <a:custGeom>
              <a:avLst/>
              <a:gdLst>
                <a:gd name="connsiteX0" fmla="*/ 0 w 76200"/>
                <a:gd name="connsiteY0" fmla="*/ 0 h 76200"/>
                <a:gd name="connsiteX1" fmla="*/ 76200 w 76200"/>
                <a:gd name="connsiteY1" fmla="*/ 0 h 76200"/>
                <a:gd name="connsiteX2" fmla="*/ 76200 w 76200"/>
                <a:gd name="connsiteY2" fmla="*/ 76200 h 76200"/>
                <a:gd name="connsiteX3" fmla="*/ 0 w 76200"/>
                <a:gd name="connsiteY3" fmla="*/ 762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0" h="76200">
                  <a:moveTo>
                    <a:pt x="0" y="0"/>
                  </a:moveTo>
                  <a:lnTo>
                    <a:pt x="76200" y="0"/>
                  </a:lnTo>
                  <a:lnTo>
                    <a:pt x="76200" y="76200"/>
                  </a:lnTo>
                  <a:lnTo>
                    <a:pt x="0" y="76200"/>
                  </a:ln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0" name="Freihandform: Form 10">
              <a:extLst>
                <a:ext uri="{FF2B5EF4-FFF2-40B4-BE49-F238E27FC236}">
                  <a16:creationId xmlns:a16="http://schemas.microsoft.com/office/drawing/2014/main" id="{39DB0F4C-986C-46E4-B7A3-9CFA39B24E6B}"/>
                </a:ext>
              </a:extLst>
            </p:cNvPr>
            <p:cNvSpPr/>
            <p:nvPr/>
          </p:nvSpPr>
          <p:spPr>
            <a:xfrm>
              <a:off x="10007525" y="4211592"/>
              <a:ext cx="322897" cy="95250"/>
            </a:xfrm>
            <a:custGeom>
              <a:avLst/>
              <a:gdLst>
                <a:gd name="connsiteX0" fmla="*/ 238125 w 322897"/>
                <a:gd name="connsiteY0" fmla="*/ 19050 h 95250"/>
                <a:gd name="connsiteX1" fmla="*/ 176213 w 322897"/>
                <a:gd name="connsiteY1" fmla="*/ 45720 h 95250"/>
                <a:gd name="connsiteX2" fmla="*/ 95250 w 322897"/>
                <a:gd name="connsiteY2" fmla="*/ 0 h 95250"/>
                <a:gd name="connsiteX3" fmla="*/ 0 w 322897"/>
                <a:gd name="connsiteY3" fmla="*/ 95250 h 95250"/>
                <a:gd name="connsiteX4" fmla="*/ 322898 w 322897"/>
                <a:gd name="connsiteY4" fmla="*/ 95250 h 95250"/>
                <a:gd name="connsiteX5" fmla="*/ 238125 w 322897"/>
                <a:gd name="connsiteY5" fmla="*/ 1905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2897" h="95250">
                  <a:moveTo>
                    <a:pt x="238125" y="19050"/>
                  </a:moveTo>
                  <a:cubicBezTo>
                    <a:pt x="213360" y="19050"/>
                    <a:pt x="191453" y="29528"/>
                    <a:pt x="176213" y="45720"/>
                  </a:cubicBezTo>
                  <a:cubicBezTo>
                    <a:pt x="159068" y="18098"/>
                    <a:pt x="129540" y="0"/>
                    <a:pt x="95250" y="0"/>
                  </a:cubicBezTo>
                  <a:cubicBezTo>
                    <a:pt x="42863" y="0"/>
                    <a:pt x="0" y="42863"/>
                    <a:pt x="0" y="95250"/>
                  </a:cubicBezTo>
                  <a:lnTo>
                    <a:pt x="322898" y="95250"/>
                  </a:lnTo>
                  <a:cubicBezTo>
                    <a:pt x="318135" y="52388"/>
                    <a:pt x="281940" y="19050"/>
                    <a:pt x="238125" y="19050"/>
                  </a:cubicBez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80" name="Fußzeilenplatzhalter 3">
            <a:extLst>
              <a:ext uri="{FF2B5EF4-FFF2-40B4-BE49-F238E27FC236}">
                <a16:creationId xmlns:a16="http://schemas.microsoft.com/office/drawing/2014/main" id="{C4CCB89D-9ADC-49A3-874A-03838EF528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72000" y="4963500"/>
            <a:ext cx="3600000" cy="180000"/>
          </a:xfrm>
        </p:spPr>
        <p:txBody>
          <a:bodyPr/>
          <a:lstStyle/>
          <a:p>
            <a:pPr lvl="0">
              <a:defRPr/>
            </a:pPr>
            <a:r>
              <a:rPr lang="de-DE" cap="all" dirty="0">
                <a:solidFill>
                  <a:srgbClr val="000000"/>
                </a:solidFill>
              </a:rPr>
              <a:t>Öffentlich</a:t>
            </a:r>
          </a:p>
        </p:txBody>
      </p:sp>
      <p:pic>
        <p:nvPicPr>
          <p:cNvPr id="181" name="Grafik 180">
            <a:extLst>
              <a:ext uri="{FF2B5EF4-FFF2-40B4-BE49-F238E27FC236}">
                <a16:creationId xmlns:a16="http://schemas.microsoft.com/office/drawing/2014/main" id="{DB9CD9D9-EF69-44F3-A4D1-AD50151E0A54}"/>
              </a:ext>
            </a:extLst>
          </p:cNvPr>
          <p:cNvPicPr>
            <a:picLocks noChangeAspect="1"/>
          </p:cNvPicPr>
          <p:nvPr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1826" y="1024083"/>
            <a:ext cx="954076" cy="289757"/>
          </a:xfrm>
          <a:prstGeom prst="rect">
            <a:avLst/>
          </a:prstGeom>
        </p:spPr>
      </p:pic>
      <p:pic>
        <p:nvPicPr>
          <p:cNvPr id="182" name="Grafik 181">
            <a:extLst>
              <a:ext uri="{FF2B5EF4-FFF2-40B4-BE49-F238E27FC236}">
                <a16:creationId xmlns:a16="http://schemas.microsoft.com/office/drawing/2014/main" id="{EB15F783-420A-4842-ADE2-C1A2373205D8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4794" y="1861642"/>
            <a:ext cx="630594" cy="185827"/>
          </a:xfrm>
          <a:prstGeom prst="rect">
            <a:avLst/>
          </a:prstGeom>
        </p:spPr>
      </p:pic>
      <p:pic>
        <p:nvPicPr>
          <p:cNvPr id="171" name="Grafik 170">
            <a:extLst>
              <a:ext uri="{FF2B5EF4-FFF2-40B4-BE49-F238E27FC236}">
                <a16:creationId xmlns:a16="http://schemas.microsoft.com/office/drawing/2014/main" id="{3B97C746-4830-4C2C-A699-5F10B50727CD}"/>
              </a:ext>
            </a:extLst>
          </p:cNvPr>
          <p:cNvPicPr>
            <a:picLocks noChangeAspect="1"/>
          </p:cNvPicPr>
          <p:nvPr/>
        </p:nvPicPr>
        <p:blipFill>
          <a:blip r:embed="rId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6966" y="4244768"/>
            <a:ext cx="861479" cy="340222"/>
          </a:xfrm>
          <a:prstGeom prst="rect">
            <a:avLst/>
          </a:prstGeom>
        </p:spPr>
      </p:pic>
      <p:grpSp>
        <p:nvGrpSpPr>
          <p:cNvPr id="172" name="Gruppieren 171">
            <a:extLst>
              <a:ext uri="{FF2B5EF4-FFF2-40B4-BE49-F238E27FC236}">
                <a16:creationId xmlns:a16="http://schemas.microsoft.com/office/drawing/2014/main" id="{69A51F90-10CC-465D-9012-38D1AED7E6F6}"/>
              </a:ext>
            </a:extLst>
          </p:cNvPr>
          <p:cNvGrpSpPr>
            <a:grpSpLocks noChangeAspect="1"/>
          </p:cNvGrpSpPr>
          <p:nvPr/>
        </p:nvGrpSpPr>
        <p:grpSpPr>
          <a:xfrm>
            <a:off x="625804" y="2330298"/>
            <a:ext cx="225649" cy="277826"/>
            <a:chOff x="11045941" y="6001472"/>
            <a:chExt cx="457200" cy="562928"/>
          </a:xfrm>
        </p:grpSpPr>
        <p:sp>
          <p:nvSpPr>
            <p:cNvPr id="173" name="Freihandform: Form 518">
              <a:extLst>
                <a:ext uri="{FF2B5EF4-FFF2-40B4-BE49-F238E27FC236}">
                  <a16:creationId xmlns:a16="http://schemas.microsoft.com/office/drawing/2014/main" id="{E9E0116A-35DF-49F7-8409-B40B8CBC58A0}"/>
                </a:ext>
              </a:extLst>
            </p:cNvPr>
            <p:cNvSpPr/>
            <p:nvPr/>
          </p:nvSpPr>
          <p:spPr>
            <a:xfrm>
              <a:off x="11287876" y="6211023"/>
              <a:ext cx="28575" cy="49530"/>
            </a:xfrm>
            <a:custGeom>
              <a:avLst/>
              <a:gdLst>
                <a:gd name="connsiteX0" fmla="*/ 28575 w 28575"/>
                <a:gd name="connsiteY0" fmla="*/ 49530 h 49530"/>
                <a:gd name="connsiteX1" fmla="*/ 0 w 28575"/>
                <a:gd name="connsiteY1" fmla="*/ 0 h 49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49530">
                  <a:moveTo>
                    <a:pt x="28575" y="49530"/>
                  </a:moveTo>
                  <a:lnTo>
                    <a:pt x="0" y="0"/>
                  </a:lnTo>
                </a:path>
              </a:pathLst>
            </a:custGeom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3" name="Freihandform: Form 519">
              <a:extLst>
                <a:ext uri="{FF2B5EF4-FFF2-40B4-BE49-F238E27FC236}">
                  <a16:creationId xmlns:a16="http://schemas.microsoft.com/office/drawing/2014/main" id="{A8C8EFF4-7C0E-4B07-989A-502FF196F848}"/>
                </a:ext>
              </a:extLst>
            </p:cNvPr>
            <p:cNvSpPr/>
            <p:nvPr/>
          </p:nvSpPr>
          <p:spPr>
            <a:xfrm>
              <a:off x="11133570" y="6001472"/>
              <a:ext cx="203835" cy="238124"/>
            </a:xfrm>
            <a:custGeom>
              <a:avLst/>
              <a:gdLst>
                <a:gd name="connsiteX0" fmla="*/ 0 w 203835"/>
                <a:gd name="connsiteY0" fmla="*/ 57150 h 238124"/>
                <a:gd name="connsiteX1" fmla="*/ 99060 w 203835"/>
                <a:gd name="connsiteY1" fmla="*/ 0 h 238124"/>
                <a:gd name="connsiteX2" fmla="*/ 203835 w 203835"/>
                <a:gd name="connsiteY2" fmla="*/ 180975 h 238124"/>
                <a:gd name="connsiteX3" fmla="*/ 154305 w 203835"/>
                <a:gd name="connsiteY3" fmla="*/ 209550 h 238124"/>
                <a:gd name="connsiteX4" fmla="*/ 104775 w 203835"/>
                <a:gd name="connsiteY4" fmla="*/ 238125 h 238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3835" h="238124">
                  <a:moveTo>
                    <a:pt x="0" y="57150"/>
                  </a:moveTo>
                  <a:lnTo>
                    <a:pt x="99060" y="0"/>
                  </a:lnTo>
                  <a:lnTo>
                    <a:pt x="203835" y="180975"/>
                  </a:lnTo>
                  <a:lnTo>
                    <a:pt x="154305" y="209550"/>
                  </a:lnTo>
                  <a:lnTo>
                    <a:pt x="104775" y="238125"/>
                  </a:ln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4" name="Freihandform: Form 520">
              <a:extLst>
                <a:ext uri="{FF2B5EF4-FFF2-40B4-BE49-F238E27FC236}">
                  <a16:creationId xmlns:a16="http://schemas.microsoft.com/office/drawing/2014/main" id="{51285C50-FB73-48A4-9DFD-6002100A9FFA}"/>
                </a:ext>
              </a:extLst>
            </p:cNvPr>
            <p:cNvSpPr/>
            <p:nvPr/>
          </p:nvSpPr>
          <p:spPr>
            <a:xfrm>
              <a:off x="11046126" y="6069100"/>
              <a:ext cx="225556" cy="358139"/>
            </a:xfrm>
            <a:custGeom>
              <a:avLst/>
              <a:gdLst>
                <a:gd name="connsiteX0" fmla="*/ 51249 w 225556"/>
                <a:gd name="connsiteY0" fmla="*/ 358140 h 358139"/>
                <a:gd name="connsiteX1" fmla="*/ 26484 w 225556"/>
                <a:gd name="connsiteY1" fmla="*/ 320993 h 358139"/>
                <a:gd name="connsiteX2" fmla="*/ 79824 w 225556"/>
                <a:gd name="connsiteY2" fmla="*/ 83820 h 358139"/>
                <a:gd name="connsiteX3" fmla="*/ 84587 w 225556"/>
                <a:gd name="connsiteY3" fmla="*/ 80963 h 358139"/>
                <a:gd name="connsiteX4" fmla="*/ 84587 w 225556"/>
                <a:gd name="connsiteY4" fmla="*/ 80963 h 358139"/>
                <a:gd name="connsiteX5" fmla="*/ 225557 w 225556"/>
                <a:gd name="connsiteY5" fmla="*/ 0 h 3581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5556" h="358139">
                  <a:moveTo>
                    <a:pt x="51249" y="358140"/>
                  </a:moveTo>
                  <a:lnTo>
                    <a:pt x="26484" y="320993"/>
                  </a:lnTo>
                  <a:cubicBezTo>
                    <a:pt x="-23998" y="240983"/>
                    <a:pt x="-186" y="134303"/>
                    <a:pt x="79824" y="83820"/>
                  </a:cubicBezTo>
                  <a:cubicBezTo>
                    <a:pt x="81729" y="82868"/>
                    <a:pt x="82682" y="81915"/>
                    <a:pt x="84587" y="80963"/>
                  </a:cubicBezTo>
                  <a:lnTo>
                    <a:pt x="84587" y="80963"/>
                  </a:lnTo>
                  <a:lnTo>
                    <a:pt x="225557" y="0"/>
                  </a:lnTo>
                </a:path>
              </a:pathLst>
            </a:custGeom>
            <a:noFill/>
            <a:ln w="19050" cap="flat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5" name="Freihandform: Form 521">
              <a:extLst>
                <a:ext uri="{FF2B5EF4-FFF2-40B4-BE49-F238E27FC236}">
                  <a16:creationId xmlns:a16="http://schemas.microsoft.com/office/drawing/2014/main" id="{D5B89436-9607-4E12-B516-45A6544B1488}"/>
                </a:ext>
              </a:extLst>
            </p:cNvPr>
            <p:cNvSpPr/>
            <p:nvPr/>
          </p:nvSpPr>
          <p:spPr>
            <a:xfrm>
              <a:off x="11268826" y="6311988"/>
              <a:ext cx="186690" cy="108584"/>
            </a:xfrm>
            <a:custGeom>
              <a:avLst/>
              <a:gdLst>
                <a:gd name="connsiteX0" fmla="*/ 0 w 186690"/>
                <a:gd name="connsiteY0" fmla="*/ 108585 h 108584"/>
                <a:gd name="connsiteX1" fmla="*/ 186690 w 186690"/>
                <a:gd name="connsiteY1" fmla="*/ 0 h 108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6690" h="108584">
                  <a:moveTo>
                    <a:pt x="0" y="108585"/>
                  </a:moveTo>
                  <a:lnTo>
                    <a:pt x="186690" y="0"/>
                  </a:lnTo>
                </a:path>
              </a:pathLst>
            </a:custGeom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6" name="Freihandform: Form 522">
              <a:extLst>
                <a:ext uri="{FF2B5EF4-FFF2-40B4-BE49-F238E27FC236}">
                  <a16:creationId xmlns:a16="http://schemas.microsoft.com/office/drawing/2014/main" id="{C3283B48-37D9-460F-B8CA-BA7BC2C55C3E}"/>
                </a:ext>
              </a:extLst>
            </p:cNvPr>
            <p:cNvSpPr/>
            <p:nvPr/>
          </p:nvSpPr>
          <p:spPr>
            <a:xfrm>
              <a:off x="11045941" y="6412000"/>
              <a:ext cx="457200" cy="152400"/>
            </a:xfrm>
            <a:custGeom>
              <a:avLst/>
              <a:gdLst>
                <a:gd name="connsiteX0" fmla="*/ 457200 w 457200"/>
                <a:gd name="connsiteY0" fmla="*/ 152400 h 152400"/>
                <a:gd name="connsiteX1" fmla="*/ 0 w 457200"/>
                <a:gd name="connsiteY1" fmla="*/ 152400 h 152400"/>
                <a:gd name="connsiteX2" fmla="*/ 0 w 457200"/>
                <a:gd name="connsiteY2" fmla="*/ 104775 h 152400"/>
                <a:gd name="connsiteX3" fmla="*/ 104775 w 457200"/>
                <a:gd name="connsiteY3" fmla="*/ 0 h 152400"/>
                <a:gd name="connsiteX4" fmla="*/ 209550 w 457200"/>
                <a:gd name="connsiteY4" fmla="*/ 104775 h 152400"/>
                <a:gd name="connsiteX5" fmla="*/ 208598 w 457200"/>
                <a:gd name="connsiteY5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7200" h="152400">
                  <a:moveTo>
                    <a:pt x="457200" y="152400"/>
                  </a:moveTo>
                  <a:lnTo>
                    <a:pt x="0" y="152400"/>
                  </a:lnTo>
                  <a:lnTo>
                    <a:pt x="0" y="104775"/>
                  </a:lnTo>
                  <a:cubicBezTo>
                    <a:pt x="0" y="46673"/>
                    <a:pt x="46673" y="0"/>
                    <a:pt x="104775" y="0"/>
                  </a:cubicBezTo>
                  <a:cubicBezTo>
                    <a:pt x="162878" y="0"/>
                    <a:pt x="209550" y="46673"/>
                    <a:pt x="209550" y="104775"/>
                  </a:cubicBezTo>
                  <a:lnTo>
                    <a:pt x="208598" y="152400"/>
                  </a:ln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87" name="Gruppieren 186">
            <a:extLst>
              <a:ext uri="{FF2B5EF4-FFF2-40B4-BE49-F238E27FC236}">
                <a16:creationId xmlns:a16="http://schemas.microsoft.com/office/drawing/2014/main" id="{B2EE988A-F519-4B93-BE2B-E0C34D4A2CA9}"/>
              </a:ext>
            </a:extLst>
          </p:cNvPr>
          <p:cNvGrpSpPr>
            <a:grpSpLocks noChangeAspect="1"/>
          </p:cNvGrpSpPr>
          <p:nvPr/>
        </p:nvGrpSpPr>
        <p:grpSpPr>
          <a:xfrm>
            <a:off x="662355" y="3502246"/>
            <a:ext cx="287994" cy="252000"/>
            <a:chOff x="2686011" y="421208"/>
            <a:chExt cx="561975" cy="491734"/>
          </a:xfrm>
        </p:grpSpPr>
        <p:sp>
          <p:nvSpPr>
            <p:cNvPr id="188" name="Freihandform: Form 119">
              <a:extLst>
                <a:ext uri="{FF2B5EF4-FFF2-40B4-BE49-F238E27FC236}">
                  <a16:creationId xmlns:a16="http://schemas.microsoft.com/office/drawing/2014/main" id="{744C3CF7-A057-49DD-A128-08A39B042C7B}"/>
                </a:ext>
              </a:extLst>
            </p:cNvPr>
            <p:cNvSpPr/>
            <p:nvPr/>
          </p:nvSpPr>
          <p:spPr>
            <a:xfrm>
              <a:off x="3028911" y="484316"/>
              <a:ext cx="161925" cy="161925"/>
            </a:xfrm>
            <a:custGeom>
              <a:avLst/>
              <a:gdLst>
                <a:gd name="connsiteX0" fmla="*/ 57150 w 161925"/>
                <a:gd name="connsiteY0" fmla="*/ 0 h 161925"/>
                <a:gd name="connsiteX1" fmla="*/ 161925 w 161925"/>
                <a:gd name="connsiteY1" fmla="*/ 104775 h 161925"/>
                <a:gd name="connsiteX2" fmla="*/ 104775 w 161925"/>
                <a:gd name="connsiteY2" fmla="*/ 161925 h 161925"/>
                <a:gd name="connsiteX3" fmla="*/ 0 w 161925"/>
                <a:gd name="connsiteY3" fmla="*/ 5715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925" h="161925">
                  <a:moveTo>
                    <a:pt x="57150" y="0"/>
                  </a:moveTo>
                  <a:lnTo>
                    <a:pt x="161925" y="104775"/>
                  </a:lnTo>
                  <a:lnTo>
                    <a:pt x="104775" y="161925"/>
                  </a:lnTo>
                  <a:lnTo>
                    <a:pt x="0" y="57150"/>
                  </a:lnTo>
                </a:path>
              </a:pathLst>
            </a:custGeom>
            <a:noFill/>
            <a:ln w="19050" cap="flat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9" name="Freihandform: Form 120">
              <a:extLst>
                <a:ext uri="{FF2B5EF4-FFF2-40B4-BE49-F238E27FC236}">
                  <a16:creationId xmlns:a16="http://schemas.microsoft.com/office/drawing/2014/main" id="{9640A99A-1973-46FA-9704-ADB6E7BA9CE5}"/>
                </a:ext>
              </a:extLst>
            </p:cNvPr>
            <p:cNvSpPr/>
            <p:nvPr/>
          </p:nvSpPr>
          <p:spPr>
            <a:xfrm>
              <a:off x="2686011" y="722442"/>
              <a:ext cx="171450" cy="95250"/>
            </a:xfrm>
            <a:custGeom>
              <a:avLst/>
              <a:gdLst>
                <a:gd name="connsiteX0" fmla="*/ 171450 w 171450"/>
                <a:gd name="connsiteY0" fmla="*/ 0 h 95250"/>
                <a:gd name="connsiteX1" fmla="*/ 0 w 171450"/>
                <a:gd name="connsiteY1" fmla="*/ 0 h 95250"/>
                <a:gd name="connsiteX2" fmla="*/ 171450 w 171450"/>
                <a:gd name="connsiteY2" fmla="*/ 9525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1450" h="95250">
                  <a:moveTo>
                    <a:pt x="171450" y="0"/>
                  </a:moveTo>
                  <a:lnTo>
                    <a:pt x="0" y="0"/>
                  </a:lnTo>
                  <a:cubicBezTo>
                    <a:pt x="0" y="0"/>
                    <a:pt x="20003" y="95250"/>
                    <a:pt x="171450" y="95250"/>
                  </a:cubicBez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0" name="Freihandform: Form 121">
              <a:extLst>
                <a:ext uri="{FF2B5EF4-FFF2-40B4-BE49-F238E27FC236}">
                  <a16:creationId xmlns:a16="http://schemas.microsoft.com/office/drawing/2014/main" id="{589254D4-19EA-4608-A6F1-4A20CFF17A6C}"/>
                </a:ext>
              </a:extLst>
            </p:cNvPr>
            <p:cNvSpPr/>
            <p:nvPr/>
          </p:nvSpPr>
          <p:spPr>
            <a:xfrm rot="18900000">
              <a:off x="2898596" y="421208"/>
              <a:ext cx="242885" cy="107631"/>
            </a:xfrm>
            <a:custGeom>
              <a:avLst/>
              <a:gdLst>
                <a:gd name="connsiteX0" fmla="*/ 0 w 242885"/>
                <a:gd name="connsiteY0" fmla="*/ 0 h 107631"/>
                <a:gd name="connsiteX1" fmla="*/ 242885 w 242885"/>
                <a:gd name="connsiteY1" fmla="*/ 0 h 107631"/>
                <a:gd name="connsiteX2" fmla="*/ 242885 w 242885"/>
                <a:gd name="connsiteY2" fmla="*/ 107631 h 107631"/>
                <a:gd name="connsiteX3" fmla="*/ 0 w 242885"/>
                <a:gd name="connsiteY3" fmla="*/ 107631 h 1076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2885" h="107631">
                  <a:moveTo>
                    <a:pt x="0" y="0"/>
                  </a:moveTo>
                  <a:lnTo>
                    <a:pt x="242885" y="0"/>
                  </a:lnTo>
                  <a:lnTo>
                    <a:pt x="242885" y="107631"/>
                  </a:lnTo>
                  <a:lnTo>
                    <a:pt x="0" y="107631"/>
                  </a:ln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1" name="Freihandform: Form 122">
              <a:extLst>
                <a:ext uri="{FF2B5EF4-FFF2-40B4-BE49-F238E27FC236}">
                  <a16:creationId xmlns:a16="http://schemas.microsoft.com/office/drawing/2014/main" id="{049CE947-009B-406C-9BC0-F7497949D6B6}"/>
                </a:ext>
              </a:extLst>
            </p:cNvPr>
            <p:cNvSpPr/>
            <p:nvPr/>
          </p:nvSpPr>
          <p:spPr>
            <a:xfrm>
              <a:off x="2705061" y="646242"/>
              <a:ext cx="76199" cy="9525"/>
            </a:xfrm>
            <a:custGeom>
              <a:avLst/>
              <a:gdLst>
                <a:gd name="connsiteX0" fmla="*/ 76200 w 76199"/>
                <a:gd name="connsiteY0" fmla="*/ 0 h 9525"/>
                <a:gd name="connsiteX1" fmla="*/ 0 w 76199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199" h="9525">
                  <a:moveTo>
                    <a:pt x="76200" y="0"/>
                  </a:moveTo>
                  <a:lnTo>
                    <a:pt x="0" y="0"/>
                  </a:lnTo>
                </a:path>
              </a:pathLst>
            </a:custGeom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2" name="Freihandform: Form 123">
              <a:extLst>
                <a:ext uri="{FF2B5EF4-FFF2-40B4-BE49-F238E27FC236}">
                  <a16:creationId xmlns:a16="http://schemas.microsoft.com/office/drawing/2014/main" id="{37549D5D-330D-48F3-93DB-76794928837D}"/>
                </a:ext>
              </a:extLst>
            </p:cNvPr>
            <p:cNvSpPr/>
            <p:nvPr/>
          </p:nvSpPr>
          <p:spPr>
            <a:xfrm>
              <a:off x="2755543" y="525274"/>
              <a:ext cx="54292" cy="53340"/>
            </a:xfrm>
            <a:custGeom>
              <a:avLst/>
              <a:gdLst>
                <a:gd name="connsiteX0" fmla="*/ 54293 w 54292"/>
                <a:gd name="connsiteY0" fmla="*/ 53340 h 53340"/>
                <a:gd name="connsiteX1" fmla="*/ 0 w 54292"/>
                <a:gd name="connsiteY1" fmla="*/ 0 h 5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4292" h="53340">
                  <a:moveTo>
                    <a:pt x="54293" y="53340"/>
                  </a:moveTo>
                  <a:lnTo>
                    <a:pt x="0" y="0"/>
                  </a:lnTo>
                </a:path>
              </a:pathLst>
            </a:custGeom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3" name="Freihandform: Form 124">
              <a:extLst>
                <a:ext uri="{FF2B5EF4-FFF2-40B4-BE49-F238E27FC236}">
                  <a16:creationId xmlns:a16="http://schemas.microsoft.com/office/drawing/2014/main" id="{3AF81A7E-0320-4E47-8E82-09F8CA7BECC7}"/>
                </a:ext>
              </a:extLst>
            </p:cNvPr>
            <p:cNvSpPr/>
            <p:nvPr/>
          </p:nvSpPr>
          <p:spPr>
            <a:xfrm>
              <a:off x="2857461" y="722442"/>
              <a:ext cx="390525" cy="190500"/>
            </a:xfrm>
            <a:custGeom>
              <a:avLst/>
              <a:gdLst>
                <a:gd name="connsiteX0" fmla="*/ 390525 w 390525"/>
                <a:gd name="connsiteY0" fmla="*/ 95250 h 190500"/>
                <a:gd name="connsiteX1" fmla="*/ 390525 w 390525"/>
                <a:gd name="connsiteY1" fmla="*/ 0 h 190500"/>
                <a:gd name="connsiteX2" fmla="*/ 0 w 390525"/>
                <a:gd name="connsiteY2" fmla="*/ 0 h 190500"/>
                <a:gd name="connsiteX3" fmla="*/ 0 w 390525"/>
                <a:gd name="connsiteY3" fmla="*/ 190500 h 190500"/>
                <a:gd name="connsiteX4" fmla="*/ 295275 w 390525"/>
                <a:gd name="connsiteY4" fmla="*/ 190500 h 190500"/>
                <a:gd name="connsiteX5" fmla="*/ 390525 w 390525"/>
                <a:gd name="connsiteY5" fmla="*/ 9525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0525" h="190500">
                  <a:moveTo>
                    <a:pt x="390525" y="95250"/>
                  </a:moveTo>
                  <a:lnTo>
                    <a:pt x="390525" y="0"/>
                  </a:lnTo>
                  <a:lnTo>
                    <a:pt x="0" y="0"/>
                  </a:lnTo>
                  <a:lnTo>
                    <a:pt x="0" y="190500"/>
                  </a:lnTo>
                  <a:lnTo>
                    <a:pt x="295275" y="190500"/>
                  </a:lnTo>
                  <a:cubicBezTo>
                    <a:pt x="295275" y="138113"/>
                    <a:pt x="338138" y="95250"/>
                    <a:pt x="390525" y="95250"/>
                  </a:cubicBez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pic>
        <p:nvPicPr>
          <p:cNvPr id="12" name="Grafik 11">
            <a:extLst>
              <a:ext uri="{FF2B5EF4-FFF2-40B4-BE49-F238E27FC236}">
                <a16:creationId xmlns:a16="http://schemas.microsoft.com/office/drawing/2014/main" id="{1D67C953-A01B-400C-8D4C-B8905B99BC02}"/>
              </a:ext>
            </a:extLst>
          </p:cNvPr>
          <p:cNvPicPr>
            <a:picLocks noChangeAspect="1"/>
          </p:cNvPicPr>
          <p:nvPr/>
        </p:nvPicPr>
        <p:blipFill>
          <a:blip r:embed="rId84"/>
          <a:stretch>
            <a:fillRect/>
          </a:stretch>
        </p:blipFill>
        <p:spPr>
          <a:xfrm>
            <a:off x="2246249" y="1308535"/>
            <a:ext cx="940124" cy="256316"/>
          </a:xfrm>
          <a:prstGeom prst="rect">
            <a:avLst/>
          </a:prstGeom>
        </p:spPr>
      </p:pic>
      <p:sp>
        <p:nvSpPr>
          <p:cNvPr id="194" name="Rechteck 193">
            <a:extLst>
              <a:ext uri="{FF2B5EF4-FFF2-40B4-BE49-F238E27FC236}">
                <a16:creationId xmlns:a16="http://schemas.microsoft.com/office/drawing/2014/main" id="{373E6972-5A65-4DA9-8F33-9A1EBA5FC300}"/>
              </a:ext>
            </a:extLst>
          </p:cNvPr>
          <p:cNvSpPr/>
          <p:nvPr/>
        </p:nvSpPr>
        <p:spPr>
          <a:xfrm>
            <a:off x="6725426" y="1634488"/>
            <a:ext cx="1363402" cy="328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>
                <a:solidFill>
                  <a:schemeClr val="tx1"/>
                </a:solidFill>
              </a:rPr>
              <a:t>Universitäten der Bundeswehr</a:t>
            </a:r>
          </a:p>
        </p:txBody>
      </p:sp>
      <p:pic>
        <p:nvPicPr>
          <p:cNvPr id="292" name="Grafik 291">
            <a:extLst>
              <a:ext uri="{FF2B5EF4-FFF2-40B4-BE49-F238E27FC236}">
                <a16:creationId xmlns:a16="http://schemas.microsoft.com/office/drawing/2014/main" id="{FD405E19-8A43-4F52-9579-AC3310461827}"/>
              </a:ext>
            </a:extLst>
          </p:cNvPr>
          <p:cNvPicPr>
            <a:picLocks noChangeAspect="1"/>
          </p:cNvPicPr>
          <p:nvPr/>
        </p:nvPicPr>
        <p:blipFill rotWithShape="1">
          <a:blip r:embed="rId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5633" b="-11911"/>
          <a:stretch/>
        </p:blipFill>
        <p:spPr>
          <a:xfrm>
            <a:off x="4665324" y="674655"/>
            <a:ext cx="552707" cy="580583"/>
          </a:xfrm>
          <a:prstGeom prst="rect">
            <a:avLst/>
          </a:prstGeom>
        </p:spPr>
      </p:pic>
      <p:sp>
        <p:nvSpPr>
          <p:cNvPr id="195" name="Textfeld 194">
            <a:extLst>
              <a:ext uri="{FF2B5EF4-FFF2-40B4-BE49-F238E27FC236}">
                <a16:creationId xmlns:a16="http://schemas.microsoft.com/office/drawing/2014/main" id="{AE9EBD26-7DEF-40A6-9EB4-8F7FA3D8D9C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gray">
          <a:xfrm>
            <a:off x="7012676" y="3044361"/>
            <a:ext cx="266834" cy="266834"/>
          </a:xfrm>
          <a:prstGeom prst="ellipse">
            <a:avLst/>
          </a:prstGeom>
          <a:solidFill>
            <a:srgbClr val="485C6A"/>
          </a:solidFill>
          <a:ln w="19050">
            <a:solidFill>
              <a:srgbClr val="FFFFFF"/>
            </a:solidFill>
          </a:ln>
          <a:effectLst/>
        </p:spPr>
        <p:txBody>
          <a:bodyPr vert="horz" wrap="square" lIns="90000" tIns="46800" rIns="90000" bIns="46800" rtlCol="0" anchor="ctr" anchorCtr="0">
            <a:no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100000"/>
              <a:defRPr sz="16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37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4A4A4A"/>
              </a:buClr>
              <a:buSzPct val="100000"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96" name="Rechteck 195">
            <a:extLst>
              <a:ext uri="{FF2B5EF4-FFF2-40B4-BE49-F238E27FC236}">
                <a16:creationId xmlns:a16="http://schemas.microsoft.com/office/drawing/2014/main" id="{6FBEE295-CE0F-4B02-A47B-E8FBDA6F1852}"/>
              </a:ext>
            </a:extLst>
          </p:cNvPr>
          <p:cNvSpPr/>
          <p:nvPr/>
        </p:nvSpPr>
        <p:spPr>
          <a:xfrm>
            <a:off x="5502255" y="1183990"/>
            <a:ext cx="1361893" cy="3283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1000" b="1" dirty="0" err="1">
                <a:solidFill>
                  <a:schemeClr val="tx1"/>
                </a:solidFill>
              </a:rPr>
              <a:t>InnoMgmt</a:t>
            </a:r>
            <a:r>
              <a:rPr lang="de-DE" sz="1000" b="1" dirty="0">
                <a:solidFill>
                  <a:schemeClr val="tx1"/>
                </a:solidFill>
              </a:rPr>
              <a:t> </a:t>
            </a:r>
            <a:br>
              <a:rPr lang="de-DE" sz="1000" b="1" dirty="0">
                <a:solidFill>
                  <a:schemeClr val="tx1"/>
                </a:solidFill>
              </a:rPr>
            </a:br>
            <a:r>
              <a:rPr lang="de-DE" sz="1000" b="1" dirty="0">
                <a:solidFill>
                  <a:schemeClr val="tx1"/>
                </a:solidFill>
              </a:rPr>
              <a:t>GB BMVg</a:t>
            </a:r>
          </a:p>
        </p:txBody>
      </p:sp>
      <p:pic>
        <p:nvPicPr>
          <p:cNvPr id="197" name="Grafik 196">
            <a:extLst>
              <a:ext uri="{FF2B5EF4-FFF2-40B4-BE49-F238E27FC236}">
                <a16:creationId xmlns:a16="http://schemas.microsoft.com/office/drawing/2014/main" id="{24CCD467-04F2-454F-B289-C56F64E4B1C0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86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7964" y="803241"/>
            <a:ext cx="341095" cy="39991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7A2B2F13-0B42-48B1-A2DF-6CB84C2E64BA}"/>
              </a:ext>
            </a:extLst>
          </p:cNvPr>
          <p:cNvPicPr>
            <a:picLocks noChangeAspect="1"/>
          </p:cNvPicPr>
          <p:nvPr/>
        </p:nvPicPr>
        <p:blipFill>
          <a:blip r:embed="rId87"/>
          <a:stretch>
            <a:fillRect/>
          </a:stretch>
        </p:blipFill>
        <p:spPr>
          <a:xfrm>
            <a:off x="5947769" y="794698"/>
            <a:ext cx="330504" cy="39188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295A5B6F-962D-4B23-ADA3-32983ADE3C8C}"/>
              </a:ext>
            </a:extLst>
          </p:cNvPr>
          <p:cNvPicPr>
            <a:picLocks noChangeAspect="1"/>
          </p:cNvPicPr>
          <p:nvPr/>
        </p:nvPicPr>
        <p:blipFill>
          <a:blip r:embed="rId88"/>
          <a:stretch>
            <a:fillRect/>
          </a:stretch>
        </p:blipFill>
        <p:spPr>
          <a:xfrm>
            <a:off x="1225292" y="1195175"/>
            <a:ext cx="898623" cy="328343"/>
          </a:xfrm>
          <a:prstGeom prst="rect">
            <a:avLst/>
          </a:prstGeom>
        </p:spPr>
      </p:pic>
      <p:grpSp>
        <p:nvGrpSpPr>
          <p:cNvPr id="214" name="Gruppieren 213">
            <a:extLst>
              <a:ext uri="{FF2B5EF4-FFF2-40B4-BE49-F238E27FC236}">
                <a16:creationId xmlns:a16="http://schemas.microsoft.com/office/drawing/2014/main" id="{AFA10B64-86BB-4CC7-8CE7-ABA7350E5758}"/>
              </a:ext>
            </a:extLst>
          </p:cNvPr>
          <p:cNvGrpSpPr>
            <a:grpSpLocks noChangeAspect="1"/>
          </p:cNvGrpSpPr>
          <p:nvPr/>
        </p:nvGrpSpPr>
        <p:grpSpPr>
          <a:xfrm>
            <a:off x="1483141" y="4385696"/>
            <a:ext cx="235739" cy="252000"/>
            <a:chOff x="6074693" y="2955682"/>
            <a:chExt cx="552450" cy="590550"/>
          </a:xfrm>
        </p:grpSpPr>
        <p:grpSp>
          <p:nvGrpSpPr>
            <p:cNvPr id="215" name="Gruppieren 214">
              <a:extLst>
                <a:ext uri="{FF2B5EF4-FFF2-40B4-BE49-F238E27FC236}">
                  <a16:creationId xmlns:a16="http://schemas.microsoft.com/office/drawing/2014/main" id="{DA75C9B6-3606-4F61-A7E0-12B044B6DD31}"/>
                </a:ext>
              </a:extLst>
            </p:cNvPr>
            <p:cNvGrpSpPr/>
            <p:nvPr/>
          </p:nvGrpSpPr>
          <p:grpSpPr>
            <a:xfrm>
              <a:off x="6074693" y="2955682"/>
              <a:ext cx="552450" cy="590550"/>
              <a:chOff x="1274236" y="339823"/>
              <a:chExt cx="552450" cy="590550"/>
            </a:xfrm>
          </p:grpSpPr>
          <p:sp>
            <p:nvSpPr>
              <p:cNvPr id="222" name="Freihandform: Form 90">
                <a:extLst>
                  <a:ext uri="{FF2B5EF4-FFF2-40B4-BE49-F238E27FC236}">
                    <a16:creationId xmlns:a16="http://schemas.microsoft.com/office/drawing/2014/main" id="{02D7F1E1-0E7F-487A-BD58-71E6D02BBBE1}"/>
                  </a:ext>
                </a:extLst>
              </p:cNvPr>
              <p:cNvSpPr/>
              <p:nvPr/>
            </p:nvSpPr>
            <p:spPr>
              <a:xfrm>
                <a:off x="1274236" y="530323"/>
                <a:ext cx="552450" cy="9525"/>
              </a:xfrm>
              <a:custGeom>
                <a:avLst/>
                <a:gdLst>
                  <a:gd name="connsiteX0" fmla="*/ 552450 w 552450"/>
                  <a:gd name="connsiteY0" fmla="*/ 0 h 9525"/>
                  <a:gd name="connsiteX1" fmla="*/ 0 w 55245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52450" h="9525">
                    <a:moveTo>
                      <a:pt x="552450" y="0"/>
                    </a:moveTo>
                    <a:lnTo>
                      <a:pt x="0" y="0"/>
                    </a:lnTo>
                  </a:path>
                </a:pathLst>
              </a:custGeom>
              <a:ln w="19050" cap="flat">
                <a:solidFill>
                  <a:srgbClr val="485C6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23" name="Freihandform: Form 91">
                <a:extLst>
                  <a:ext uri="{FF2B5EF4-FFF2-40B4-BE49-F238E27FC236}">
                    <a16:creationId xmlns:a16="http://schemas.microsoft.com/office/drawing/2014/main" id="{0EBF6D10-17B2-41F3-84F7-58817AFE6E91}"/>
                  </a:ext>
                </a:extLst>
              </p:cNvPr>
              <p:cNvSpPr/>
              <p:nvPr/>
            </p:nvSpPr>
            <p:spPr>
              <a:xfrm>
                <a:off x="1398061" y="339823"/>
                <a:ext cx="9525" cy="114300"/>
              </a:xfrm>
              <a:custGeom>
                <a:avLst/>
                <a:gdLst>
                  <a:gd name="connsiteX0" fmla="*/ 0 w 9525"/>
                  <a:gd name="connsiteY0" fmla="*/ 0 h 114300"/>
                  <a:gd name="connsiteX1" fmla="*/ 0 w 9525"/>
                  <a:gd name="connsiteY1" fmla="*/ 114300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14300">
                    <a:moveTo>
                      <a:pt x="0" y="0"/>
                    </a:moveTo>
                    <a:lnTo>
                      <a:pt x="0" y="114300"/>
                    </a:lnTo>
                  </a:path>
                </a:pathLst>
              </a:custGeom>
              <a:ln w="19050" cap="sq">
                <a:solidFill>
                  <a:srgbClr val="485C6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24" name="Freihandform: Form 92">
                <a:extLst>
                  <a:ext uri="{FF2B5EF4-FFF2-40B4-BE49-F238E27FC236}">
                    <a16:creationId xmlns:a16="http://schemas.microsoft.com/office/drawing/2014/main" id="{208D02E0-1FC8-4482-BA16-28A22F2BAE02}"/>
                  </a:ext>
                </a:extLst>
              </p:cNvPr>
              <p:cNvSpPr/>
              <p:nvPr/>
            </p:nvSpPr>
            <p:spPr>
              <a:xfrm>
                <a:off x="1702861" y="339823"/>
                <a:ext cx="9525" cy="114300"/>
              </a:xfrm>
              <a:custGeom>
                <a:avLst/>
                <a:gdLst>
                  <a:gd name="connsiteX0" fmla="*/ 0 w 9525"/>
                  <a:gd name="connsiteY0" fmla="*/ 0 h 114300"/>
                  <a:gd name="connsiteX1" fmla="*/ 0 w 9525"/>
                  <a:gd name="connsiteY1" fmla="*/ 114300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114300">
                    <a:moveTo>
                      <a:pt x="0" y="0"/>
                    </a:moveTo>
                    <a:lnTo>
                      <a:pt x="0" y="114300"/>
                    </a:lnTo>
                  </a:path>
                </a:pathLst>
              </a:custGeom>
              <a:ln w="19050" cap="sq">
                <a:solidFill>
                  <a:srgbClr val="485C6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25" name="Freihandform: Form 93">
                <a:extLst>
                  <a:ext uri="{FF2B5EF4-FFF2-40B4-BE49-F238E27FC236}">
                    <a16:creationId xmlns:a16="http://schemas.microsoft.com/office/drawing/2014/main" id="{314373CA-809B-4873-ADFA-0F5EC2D1586A}"/>
                  </a:ext>
                </a:extLst>
              </p:cNvPr>
              <p:cNvSpPr/>
              <p:nvPr/>
            </p:nvSpPr>
            <p:spPr>
              <a:xfrm>
                <a:off x="1274236" y="396972"/>
                <a:ext cx="552450" cy="533401"/>
              </a:xfrm>
              <a:custGeom>
                <a:avLst/>
                <a:gdLst>
                  <a:gd name="connsiteX0" fmla="*/ 476250 w 552450"/>
                  <a:gd name="connsiteY0" fmla="*/ 0 h 457200"/>
                  <a:gd name="connsiteX1" fmla="*/ 552450 w 552450"/>
                  <a:gd name="connsiteY1" fmla="*/ 0 h 457200"/>
                  <a:gd name="connsiteX2" fmla="*/ 552450 w 552450"/>
                  <a:gd name="connsiteY2" fmla="*/ 457200 h 457200"/>
                  <a:gd name="connsiteX3" fmla="*/ 0 w 552450"/>
                  <a:gd name="connsiteY3" fmla="*/ 457200 h 457200"/>
                  <a:gd name="connsiteX4" fmla="*/ 0 w 552450"/>
                  <a:gd name="connsiteY4" fmla="*/ 0 h 457200"/>
                  <a:gd name="connsiteX5" fmla="*/ 123825 w 552450"/>
                  <a:gd name="connsiteY5" fmla="*/ 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2450" h="457200">
                    <a:moveTo>
                      <a:pt x="476250" y="0"/>
                    </a:moveTo>
                    <a:lnTo>
                      <a:pt x="552450" y="0"/>
                    </a:lnTo>
                    <a:lnTo>
                      <a:pt x="552450" y="457200"/>
                    </a:lnTo>
                    <a:lnTo>
                      <a:pt x="0" y="457200"/>
                    </a:lnTo>
                    <a:lnTo>
                      <a:pt x="0" y="0"/>
                    </a:lnTo>
                    <a:lnTo>
                      <a:pt x="123825" y="0"/>
                    </a:lnTo>
                  </a:path>
                </a:pathLst>
              </a:custGeom>
              <a:noFill/>
              <a:ln w="19050" cap="sq">
                <a:solidFill>
                  <a:srgbClr val="485C6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26" name="Freihandform: Form 94">
                <a:extLst>
                  <a:ext uri="{FF2B5EF4-FFF2-40B4-BE49-F238E27FC236}">
                    <a16:creationId xmlns:a16="http://schemas.microsoft.com/office/drawing/2014/main" id="{23EAD112-F7D3-4E66-B1E0-F54198FF0B8B}"/>
                  </a:ext>
                </a:extLst>
              </p:cNvPr>
              <p:cNvSpPr/>
              <p:nvPr/>
            </p:nvSpPr>
            <p:spPr>
              <a:xfrm>
                <a:off x="1445686" y="396973"/>
                <a:ext cx="257175" cy="9525"/>
              </a:xfrm>
              <a:custGeom>
                <a:avLst/>
                <a:gdLst>
                  <a:gd name="connsiteX0" fmla="*/ 0 w 257175"/>
                  <a:gd name="connsiteY0" fmla="*/ 0 h 9525"/>
                  <a:gd name="connsiteX1" fmla="*/ 257175 w 257175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7175" h="9525">
                    <a:moveTo>
                      <a:pt x="0" y="0"/>
                    </a:moveTo>
                    <a:lnTo>
                      <a:pt x="257175" y="0"/>
                    </a:lnTo>
                  </a:path>
                </a:pathLst>
              </a:custGeom>
              <a:ln w="19050" cap="sq">
                <a:solidFill>
                  <a:srgbClr val="485C6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216" name="Gruppieren 215">
              <a:extLst>
                <a:ext uri="{FF2B5EF4-FFF2-40B4-BE49-F238E27FC236}">
                  <a16:creationId xmlns:a16="http://schemas.microsoft.com/office/drawing/2014/main" id="{009FBB8A-3C08-4C2B-9F5D-EBFDFAE05D20}"/>
                </a:ext>
              </a:extLst>
            </p:cNvPr>
            <p:cNvGrpSpPr/>
            <p:nvPr/>
          </p:nvGrpSpPr>
          <p:grpSpPr>
            <a:xfrm>
              <a:off x="6141368" y="3228689"/>
              <a:ext cx="419100" cy="238124"/>
              <a:chOff x="6141368" y="3615655"/>
              <a:chExt cx="419100" cy="238124"/>
            </a:xfrm>
          </p:grpSpPr>
          <p:sp>
            <p:nvSpPr>
              <p:cNvPr id="217" name="Freihandform: Form 96">
                <a:extLst>
                  <a:ext uri="{FF2B5EF4-FFF2-40B4-BE49-F238E27FC236}">
                    <a16:creationId xmlns:a16="http://schemas.microsoft.com/office/drawing/2014/main" id="{EAC6EBBF-9AD8-4701-97DC-D994993F2FC1}"/>
                  </a:ext>
                </a:extLst>
              </p:cNvPr>
              <p:cNvSpPr/>
              <p:nvPr/>
            </p:nvSpPr>
            <p:spPr>
              <a:xfrm>
                <a:off x="6141368" y="3758529"/>
                <a:ext cx="114300" cy="95250"/>
              </a:xfrm>
              <a:custGeom>
                <a:avLst/>
                <a:gdLst>
                  <a:gd name="connsiteX0" fmla="*/ 9525 w 114300"/>
                  <a:gd name="connsiteY0" fmla="*/ 95250 h 95250"/>
                  <a:gd name="connsiteX1" fmla="*/ 104775 w 114300"/>
                  <a:gd name="connsiteY1" fmla="*/ 95250 h 95250"/>
                  <a:gd name="connsiteX2" fmla="*/ 114300 w 114300"/>
                  <a:gd name="connsiteY2" fmla="*/ 85725 h 95250"/>
                  <a:gd name="connsiteX3" fmla="*/ 114300 w 114300"/>
                  <a:gd name="connsiteY3" fmla="*/ 9525 h 95250"/>
                  <a:gd name="connsiteX4" fmla="*/ 104775 w 114300"/>
                  <a:gd name="connsiteY4" fmla="*/ 0 h 95250"/>
                  <a:gd name="connsiteX5" fmla="*/ 9525 w 114300"/>
                  <a:gd name="connsiteY5" fmla="*/ 0 h 95250"/>
                  <a:gd name="connsiteX6" fmla="*/ 0 w 114300"/>
                  <a:gd name="connsiteY6" fmla="*/ 9525 h 95250"/>
                  <a:gd name="connsiteX7" fmla="*/ 0 w 114300"/>
                  <a:gd name="connsiteY7" fmla="*/ 85725 h 95250"/>
                  <a:gd name="connsiteX8" fmla="*/ 9525 w 114300"/>
                  <a:gd name="connsiteY8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4300" h="95250">
                    <a:moveTo>
                      <a:pt x="9525" y="95250"/>
                    </a:moveTo>
                    <a:lnTo>
                      <a:pt x="104775" y="95250"/>
                    </a:lnTo>
                    <a:cubicBezTo>
                      <a:pt x="110490" y="95250"/>
                      <a:pt x="114300" y="91440"/>
                      <a:pt x="114300" y="85725"/>
                    </a:cubicBezTo>
                    <a:lnTo>
                      <a:pt x="114300" y="9525"/>
                    </a:lnTo>
                    <a:cubicBezTo>
                      <a:pt x="114300" y="3810"/>
                      <a:pt x="110490" y="0"/>
                      <a:pt x="104775" y="0"/>
                    </a:cubicBezTo>
                    <a:lnTo>
                      <a:pt x="9525" y="0"/>
                    </a:lnTo>
                    <a:cubicBezTo>
                      <a:pt x="3810" y="0"/>
                      <a:pt x="0" y="3810"/>
                      <a:pt x="0" y="9525"/>
                    </a:cubicBezTo>
                    <a:lnTo>
                      <a:pt x="0" y="85725"/>
                    </a:lnTo>
                    <a:cubicBezTo>
                      <a:pt x="0" y="91440"/>
                      <a:pt x="3810" y="95250"/>
                      <a:pt x="9525" y="95250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 cap="flat">
                <a:solidFill>
                  <a:srgbClr val="485C6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18" name="Freihandform: Form 97">
                <a:extLst>
                  <a:ext uri="{FF2B5EF4-FFF2-40B4-BE49-F238E27FC236}">
                    <a16:creationId xmlns:a16="http://schemas.microsoft.com/office/drawing/2014/main" id="{7A008B31-5521-4793-892C-3A6C912DB0A3}"/>
                  </a:ext>
                </a:extLst>
              </p:cNvPr>
              <p:cNvSpPr/>
              <p:nvPr/>
            </p:nvSpPr>
            <p:spPr>
              <a:xfrm>
                <a:off x="6141368" y="3615655"/>
                <a:ext cx="114300" cy="95250"/>
              </a:xfrm>
              <a:custGeom>
                <a:avLst/>
                <a:gdLst>
                  <a:gd name="connsiteX0" fmla="*/ 9525 w 114300"/>
                  <a:gd name="connsiteY0" fmla="*/ 95250 h 95250"/>
                  <a:gd name="connsiteX1" fmla="*/ 104775 w 114300"/>
                  <a:gd name="connsiteY1" fmla="*/ 95250 h 95250"/>
                  <a:gd name="connsiteX2" fmla="*/ 114300 w 114300"/>
                  <a:gd name="connsiteY2" fmla="*/ 85725 h 95250"/>
                  <a:gd name="connsiteX3" fmla="*/ 114300 w 114300"/>
                  <a:gd name="connsiteY3" fmla="*/ 9525 h 95250"/>
                  <a:gd name="connsiteX4" fmla="*/ 104775 w 114300"/>
                  <a:gd name="connsiteY4" fmla="*/ 0 h 95250"/>
                  <a:gd name="connsiteX5" fmla="*/ 9525 w 114300"/>
                  <a:gd name="connsiteY5" fmla="*/ 0 h 95250"/>
                  <a:gd name="connsiteX6" fmla="*/ 0 w 114300"/>
                  <a:gd name="connsiteY6" fmla="*/ 9525 h 95250"/>
                  <a:gd name="connsiteX7" fmla="*/ 0 w 114300"/>
                  <a:gd name="connsiteY7" fmla="*/ 85725 h 95250"/>
                  <a:gd name="connsiteX8" fmla="*/ 9525 w 114300"/>
                  <a:gd name="connsiteY8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4300" h="95250">
                    <a:moveTo>
                      <a:pt x="9525" y="95250"/>
                    </a:moveTo>
                    <a:lnTo>
                      <a:pt x="104775" y="95250"/>
                    </a:lnTo>
                    <a:cubicBezTo>
                      <a:pt x="110490" y="95250"/>
                      <a:pt x="114300" y="91440"/>
                      <a:pt x="114300" y="85725"/>
                    </a:cubicBezTo>
                    <a:lnTo>
                      <a:pt x="114300" y="9525"/>
                    </a:lnTo>
                    <a:cubicBezTo>
                      <a:pt x="114300" y="3810"/>
                      <a:pt x="110490" y="0"/>
                      <a:pt x="104775" y="0"/>
                    </a:cubicBezTo>
                    <a:lnTo>
                      <a:pt x="9525" y="0"/>
                    </a:lnTo>
                    <a:cubicBezTo>
                      <a:pt x="3810" y="0"/>
                      <a:pt x="0" y="3810"/>
                      <a:pt x="0" y="9525"/>
                    </a:cubicBezTo>
                    <a:lnTo>
                      <a:pt x="0" y="85725"/>
                    </a:lnTo>
                    <a:cubicBezTo>
                      <a:pt x="0" y="91440"/>
                      <a:pt x="3810" y="95250"/>
                      <a:pt x="9525" y="95250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 cap="flat">
                <a:solidFill>
                  <a:srgbClr val="485C6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19" name="Freihandform: Form 98">
                <a:extLst>
                  <a:ext uri="{FF2B5EF4-FFF2-40B4-BE49-F238E27FC236}">
                    <a16:creationId xmlns:a16="http://schemas.microsoft.com/office/drawing/2014/main" id="{EEBB0945-2E4C-4736-BEB9-8F78D31698FB}"/>
                  </a:ext>
                </a:extLst>
              </p:cNvPr>
              <p:cNvSpPr/>
              <p:nvPr/>
            </p:nvSpPr>
            <p:spPr>
              <a:xfrm>
                <a:off x="6293768" y="3758529"/>
                <a:ext cx="114300" cy="95250"/>
              </a:xfrm>
              <a:custGeom>
                <a:avLst/>
                <a:gdLst>
                  <a:gd name="connsiteX0" fmla="*/ 9525 w 114300"/>
                  <a:gd name="connsiteY0" fmla="*/ 95250 h 95250"/>
                  <a:gd name="connsiteX1" fmla="*/ 104775 w 114300"/>
                  <a:gd name="connsiteY1" fmla="*/ 95250 h 95250"/>
                  <a:gd name="connsiteX2" fmla="*/ 114300 w 114300"/>
                  <a:gd name="connsiteY2" fmla="*/ 85725 h 95250"/>
                  <a:gd name="connsiteX3" fmla="*/ 114300 w 114300"/>
                  <a:gd name="connsiteY3" fmla="*/ 9525 h 95250"/>
                  <a:gd name="connsiteX4" fmla="*/ 104775 w 114300"/>
                  <a:gd name="connsiteY4" fmla="*/ 0 h 95250"/>
                  <a:gd name="connsiteX5" fmla="*/ 9525 w 114300"/>
                  <a:gd name="connsiteY5" fmla="*/ 0 h 95250"/>
                  <a:gd name="connsiteX6" fmla="*/ 0 w 114300"/>
                  <a:gd name="connsiteY6" fmla="*/ 9525 h 95250"/>
                  <a:gd name="connsiteX7" fmla="*/ 0 w 114300"/>
                  <a:gd name="connsiteY7" fmla="*/ 85725 h 95250"/>
                  <a:gd name="connsiteX8" fmla="*/ 9525 w 114300"/>
                  <a:gd name="connsiteY8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4300" h="95250">
                    <a:moveTo>
                      <a:pt x="9525" y="95250"/>
                    </a:moveTo>
                    <a:lnTo>
                      <a:pt x="104775" y="95250"/>
                    </a:lnTo>
                    <a:cubicBezTo>
                      <a:pt x="110490" y="95250"/>
                      <a:pt x="114300" y="91440"/>
                      <a:pt x="114300" y="85725"/>
                    </a:cubicBezTo>
                    <a:lnTo>
                      <a:pt x="114300" y="9525"/>
                    </a:lnTo>
                    <a:cubicBezTo>
                      <a:pt x="114300" y="3810"/>
                      <a:pt x="110490" y="0"/>
                      <a:pt x="104775" y="0"/>
                    </a:cubicBezTo>
                    <a:lnTo>
                      <a:pt x="9525" y="0"/>
                    </a:lnTo>
                    <a:cubicBezTo>
                      <a:pt x="3810" y="0"/>
                      <a:pt x="0" y="3810"/>
                      <a:pt x="0" y="9525"/>
                    </a:cubicBezTo>
                    <a:lnTo>
                      <a:pt x="0" y="85725"/>
                    </a:lnTo>
                    <a:cubicBezTo>
                      <a:pt x="0" y="91440"/>
                      <a:pt x="3810" y="95250"/>
                      <a:pt x="9525" y="95250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 cap="flat">
                <a:solidFill>
                  <a:srgbClr val="485C6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20" name="Freihandform: Form 99">
                <a:extLst>
                  <a:ext uri="{FF2B5EF4-FFF2-40B4-BE49-F238E27FC236}">
                    <a16:creationId xmlns:a16="http://schemas.microsoft.com/office/drawing/2014/main" id="{AD12CF33-B69E-474C-8EF4-226CED33B10C}"/>
                  </a:ext>
                </a:extLst>
              </p:cNvPr>
              <p:cNvSpPr/>
              <p:nvPr/>
            </p:nvSpPr>
            <p:spPr>
              <a:xfrm>
                <a:off x="6293768" y="3615655"/>
                <a:ext cx="114300" cy="95250"/>
              </a:xfrm>
              <a:custGeom>
                <a:avLst/>
                <a:gdLst>
                  <a:gd name="connsiteX0" fmla="*/ 9525 w 114300"/>
                  <a:gd name="connsiteY0" fmla="*/ 95250 h 95250"/>
                  <a:gd name="connsiteX1" fmla="*/ 104775 w 114300"/>
                  <a:gd name="connsiteY1" fmla="*/ 95250 h 95250"/>
                  <a:gd name="connsiteX2" fmla="*/ 114300 w 114300"/>
                  <a:gd name="connsiteY2" fmla="*/ 85725 h 95250"/>
                  <a:gd name="connsiteX3" fmla="*/ 114300 w 114300"/>
                  <a:gd name="connsiteY3" fmla="*/ 9525 h 95250"/>
                  <a:gd name="connsiteX4" fmla="*/ 104775 w 114300"/>
                  <a:gd name="connsiteY4" fmla="*/ 0 h 95250"/>
                  <a:gd name="connsiteX5" fmla="*/ 9525 w 114300"/>
                  <a:gd name="connsiteY5" fmla="*/ 0 h 95250"/>
                  <a:gd name="connsiteX6" fmla="*/ 0 w 114300"/>
                  <a:gd name="connsiteY6" fmla="*/ 9525 h 95250"/>
                  <a:gd name="connsiteX7" fmla="*/ 0 w 114300"/>
                  <a:gd name="connsiteY7" fmla="*/ 85725 h 95250"/>
                  <a:gd name="connsiteX8" fmla="*/ 9525 w 114300"/>
                  <a:gd name="connsiteY8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4300" h="95250">
                    <a:moveTo>
                      <a:pt x="9525" y="95250"/>
                    </a:moveTo>
                    <a:lnTo>
                      <a:pt x="104775" y="95250"/>
                    </a:lnTo>
                    <a:cubicBezTo>
                      <a:pt x="110490" y="95250"/>
                      <a:pt x="114300" y="91440"/>
                      <a:pt x="114300" y="85725"/>
                    </a:cubicBezTo>
                    <a:lnTo>
                      <a:pt x="114300" y="9525"/>
                    </a:lnTo>
                    <a:cubicBezTo>
                      <a:pt x="114300" y="3810"/>
                      <a:pt x="110490" y="0"/>
                      <a:pt x="104775" y="0"/>
                    </a:cubicBezTo>
                    <a:lnTo>
                      <a:pt x="9525" y="0"/>
                    </a:lnTo>
                    <a:cubicBezTo>
                      <a:pt x="3810" y="0"/>
                      <a:pt x="0" y="3810"/>
                      <a:pt x="0" y="9525"/>
                    </a:cubicBezTo>
                    <a:lnTo>
                      <a:pt x="0" y="85725"/>
                    </a:lnTo>
                    <a:cubicBezTo>
                      <a:pt x="0" y="91440"/>
                      <a:pt x="3810" y="95250"/>
                      <a:pt x="9525" y="95250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 cap="flat">
                <a:solidFill>
                  <a:srgbClr val="485C6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21" name="Freihandform: Form 100">
                <a:extLst>
                  <a:ext uri="{FF2B5EF4-FFF2-40B4-BE49-F238E27FC236}">
                    <a16:creationId xmlns:a16="http://schemas.microsoft.com/office/drawing/2014/main" id="{EF1924D3-33BD-49C9-8EFB-ACF6E7C2D012}"/>
                  </a:ext>
                </a:extLst>
              </p:cNvPr>
              <p:cNvSpPr/>
              <p:nvPr/>
            </p:nvSpPr>
            <p:spPr>
              <a:xfrm>
                <a:off x="6446168" y="3615655"/>
                <a:ext cx="114300" cy="95250"/>
              </a:xfrm>
              <a:custGeom>
                <a:avLst/>
                <a:gdLst>
                  <a:gd name="connsiteX0" fmla="*/ 9525 w 114300"/>
                  <a:gd name="connsiteY0" fmla="*/ 95250 h 95250"/>
                  <a:gd name="connsiteX1" fmla="*/ 104775 w 114300"/>
                  <a:gd name="connsiteY1" fmla="*/ 95250 h 95250"/>
                  <a:gd name="connsiteX2" fmla="*/ 114300 w 114300"/>
                  <a:gd name="connsiteY2" fmla="*/ 85725 h 95250"/>
                  <a:gd name="connsiteX3" fmla="*/ 114300 w 114300"/>
                  <a:gd name="connsiteY3" fmla="*/ 9525 h 95250"/>
                  <a:gd name="connsiteX4" fmla="*/ 104775 w 114300"/>
                  <a:gd name="connsiteY4" fmla="*/ 0 h 95250"/>
                  <a:gd name="connsiteX5" fmla="*/ 9525 w 114300"/>
                  <a:gd name="connsiteY5" fmla="*/ 0 h 95250"/>
                  <a:gd name="connsiteX6" fmla="*/ 0 w 114300"/>
                  <a:gd name="connsiteY6" fmla="*/ 9525 h 95250"/>
                  <a:gd name="connsiteX7" fmla="*/ 0 w 114300"/>
                  <a:gd name="connsiteY7" fmla="*/ 85725 h 95250"/>
                  <a:gd name="connsiteX8" fmla="*/ 9525 w 114300"/>
                  <a:gd name="connsiteY8" fmla="*/ 9525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4300" h="95250">
                    <a:moveTo>
                      <a:pt x="9525" y="95250"/>
                    </a:moveTo>
                    <a:lnTo>
                      <a:pt x="104775" y="95250"/>
                    </a:lnTo>
                    <a:cubicBezTo>
                      <a:pt x="110490" y="95250"/>
                      <a:pt x="114300" y="91440"/>
                      <a:pt x="114300" y="85725"/>
                    </a:cubicBezTo>
                    <a:lnTo>
                      <a:pt x="114300" y="9525"/>
                    </a:lnTo>
                    <a:cubicBezTo>
                      <a:pt x="114300" y="3810"/>
                      <a:pt x="110490" y="0"/>
                      <a:pt x="104775" y="0"/>
                    </a:cubicBezTo>
                    <a:lnTo>
                      <a:pt x="9525" y="0"/>
                    </a:lnTo>
                    <a:cubicBezTo>
                      <a:pt x="3810" y="0"/>
                      <a:pt x="0" y="3810"/>
                      <a:pt x="0" y="9525"/>
                    </a:cubicBezTo>
                    <a:lnTo>
                      <a:pt x="0" y="85725"/>
                    </a:lnTo>
                    <a:cubicBezTo>
                      <a:pt x="0" y="91440"/>
                      <a:pt x="3810" y="95250"/>
                      <a:pt x="9525" y="95250"/>
                    </a:cubicBezTo>
                    <a:close/>
                  </a:path>
                </a:pathLst>
              </a:custGeom>
              <a:solidFill>
                <a:schemeClr val="bg1"/>
              </a:solidFill>
              <a:ln w="19050" cap="flat">
                <a:solidFill>
                  <a:srgbClr val="485C6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27" name="Gruppieren 226">
            <a:extLst>
              <a:ext uri="{FF2B5EF4-FFF2-40B4-BE49-F238E27FC236}">
                <a16:creationId xmlns:a16="http://schemas.microsoft.com/office/drawing/2014/main" id="{3F49A68E-3289-42FF-8BB6-5D9A91666B10}"/>
              </a:ext>
            </a:extLst>
          </p:cNvPr>
          <p:cNvGrpSpPr>
            <a:grpSpLocks noChangeAspect="1"/>
          </p:cNvGrpSpPr>
          <p:nvPr/>
        </p:nvGrpSpPr>
        <p:grpSpPr>
          <a:xfrm>
            <a:off x="1073255" y="4385048"/>
            <a:ext cx="269997" cy="252000"/>
            <a:chOff x="6527376" y="385557"/>
            <a:chExt cx="571499" cy="533400"/>
          </a:xfrm>
        </p:grpSpPr>
        <p:sp>
          <p:nvSpPr>
            <p:cNvPr id="228" name="Freihandform: Form 638">
              <a:extLst>
                <a:ext uri="{FF2B5EF4-FFF2-40B4-BE49-F238E27FC236}">
                  <a16:creationId xmlns:a16="http://schemas.microsoft.com/office/drawing/2014/main" id="{672CF03A-2235-442E-BFCB-BFBD33674F2F}"/>
                </a:ext>
              </a:extLst>
            </p:cNvPr>
            <p:cNvSpPr/>
            <p:nvPr/>
          </p:nvSpPr>
          <p:spPr>
            <a:xfrm>
              <a:off x="6527376" y="385557"/>
              <a:ext cx="571499" cy="228599"/>
            </a:xfrm>
            <a:custGeom>
              <a:avLst/>
              <a:gdLst>
                <a:gd name="connsiteX0" fmla="*/ 0 w 571499"/>
                <a:gd name="connsiteY0" fmla="*/ 228600 h 228599"/>
                <a:gd name="connsiteX1" fmla="*/ 285750 w 571499"/>
                <a:gd name="connsiteY1" fmla="*/ 0 h 228599"/>
                <a:gd name="connsiteX2" fmla="*/ 571500 w 571499"/>
                <a:gd name="connsiteY2" fmla="*/ 228600 h 2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499" h="228599">
                  <a:moveTo>
                    <a:pt x="0" y="228600"/>
                  </a:moveTo>
                  <a:lnTo>
                    <a:pt x="285750" y="0"/>
                  </a:lnTo>
                  <a:lnTo>
                    <a:pt x="571500" y="228600"/>
                  </a:lnTo>
                </a:path>
              </a:pathLst>
            </a:custGeom>
            <a:noFill/>
            <a:ln w="19050" cap="flat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" name="Freihandform: Form 639">
              <a:extLst>
                <a:ext uri="{FF2B5EF4-FFF2-40B4-BE49-F238E27FC236}">
                  <a16:creationId xmlns:a16="http://schemas.microsoft.com/office/drawing/2014/main" id="{1E6692D3-53CE-430C-8EB7-573E18C7B782}"/>
                </a:ext>
              </a:extLst>
            </p:cNvPr>
            <p:cNvSpPr/>
            <p:nvPr/>
          </p:nvSpPr>
          <p:spPr>
            <a:xfrm>
              <a:off x="6603576" y="633207"/>
              <a:ext cx="419099" cy="285750"/>
            </a:xfrm>
            <a:custGeom>
              <a:avLst/>
              <a:gdLst>
                <a:gd name="connsiteX0" fmla="*/ 0 w 419099"/>
                <a:gd name="connsiteY0" fmla="*/ 0 h 285750"/>
                <a:gd name="connsiteX1" fmla="*/ 0 w 419099"/>
                <a:gd name="connsiteY1" fmla="*/ 285750 h 285750"/>
                <a:gd name="connsiteX2" fmla="*/ 419100 w 419099"/>
                <a:gd name="connsiteY2" fmla="*/ 285750 h 285750"/>
                <a:gd name="connsiteX3" fmla="*/ 419100 w 419099"/>
                <a:gd name="connsiteY3" fmla="*/ 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9099" h="285750">
                  <a:moveTo>
                    <a:pt x="0" y="0"/>
                  </a:moveTo>
                  <a:lnTo>
                    <a:pt x="0" y="285750"/>
                  </a:lnTo>
                  <a:lnTo>
                    <a:pt x="419100" y="285750"/>
                  </a:lnTo>
                  <a:lnTo>
                    <a:pt x="419100" y="0"/>
                  </a:ln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" name="Freihandform: Form 640">
              <a:extLst>
                <a:ext uri="{FF2B5EF4-FFF2-40B4-BE49-F238E27FC236}">
                  <a16:creationId xmlns:a16="http://schemas.microsoft.com/office/drawing/2014/main" id="{035ED097-31A3-480B-9E26-A17E3C567BA5}"/>
                </a:ext>
              </a:extLst>
            </p:cNvPr>
            <p:cNvSpPr/>
            <p:nvPr/>
          </p:nvSpPr>
          <p:spPr>
            <a:xfrm>
              <a:off x="6755976" y="585582"/>
              <a:ext cx="114300" cy="114299"/>
            </a:xfrm>
            <a:custGeom>
              <a:avLst/>
              <a:gdLst>
                <a:gd name="connsiteX0" fmla="*/ 114300 w 114300"/>
                <a:gd name="connsiteY0" fmla="*/ 57150 h 114299"/>
                <a:gd name="connsiteX1" fmla="*/ 57150 w 114300"/>
                <a:gd name="connsiteY1" fmla="*/ 114300 h 114299"/>
                <a:gd name="connsiteX2" fmla="*/ 0 w 114300"/>
                <a:gd name="connsiteY2" fmla="*/ 57150 h 114299"/>
                <a:gd name="connsiteX3" fmla="*/ 57150 w 114300"/>
                <a:gd name="connsiteY3" fmla="*/ 0 h 114299"/>
                <a:gd name="connsiteX4" fmla="*/ 114300 w 114300"/>
                <a:gd name="connsiteY4" fmla="*/ 57150 h 114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299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" name="Freihandform: Form 641">
              <a:extLst>
                <a:ext uri="{FF2B5EF4-FFF2-40B4-BE49-F238E27FC236}">
                  <a16:creationId xmlns:a16="http://schemas.microsoft.com/office/drawing/2014/main" id="{47A5F0BD-FF9D-411F-9AE2-E3CA6BC65774}"/>
                </a:ext>
              </a:extLst>
            </p:cNvPr>
            <p:cNvSpPr/>
            <p:nvPr/>
          </p:nvSpPr>
          <p:spPr>
            <a:xfrm>
              <a:off x="6698826" y="737982"/>
              <a:ext cx="228599" cy="114300"/>
            </a:xfrm>
            <a:custGeom>
              <a:avLst/>
              <a:gdLst>
                <a:gd name="connsiteX0" fmla="*/ 114300 w 228599"/>
                <a:gd name="connsiteY0" fmla="*/ 0 h 114300"/>
                <a:gd name="connsiteX1" fmla="*/ 0 w 228599"/>
                <a:gd name="connsiteY1" fmla="*/ 114300 h 114300"/>
                <a:gd name="connsiteX2" fmla="*/ 228600 w 228599"/>
                <a:gd name="connsiteY2" fmla="*/ 114300 h 114300"/>
                <a:gd name="connsiteX3" fmla="*/ 114300 w 228599"/>
                <a:gd name="connsiteY3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8599" h="114300">
                  <a:moveTo>
                    <a:pt x="114300" y="0"/>
                  </a:moveTo>
                  <a:cubicBezTo>
                    <a:pt x="51435" y="0"/>
                    <a:pt x="0" y="51435"/>
                    <a:pt x="0" y="114300"/>
                  </a:cubicBezTo>
                  <a:lnTo>
                    <a:pt x="228600" y="114300"/>
                  </a:lnTo>
                  <a:cubicBezTo>
                    <a:pt x="228600" y="51435"/>
                    <a:pt x="178117" y="0"/>
                    <a:pt x="114300" y="0"/>
                  </a:cubicBez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" name="Textfeld 2">
            <a:extLst>
              <a:ext uri="{FF2B5EF4-FFF2-40B4-BE49-F238E27FC236}">
                <a16:creationId xmlns:a16="http://schemas.microsoft.com/office/drawing/2014/main" id="{3E2E3D4B-F6B9-4669-9C79-EEB11D5D3356}"/>
              </a:ext>
            </a:extLst>
          </p:cNvPr>
          <p:cNvSpPr txBox="1"/>
          <p:nvPr/>
        </p:nvSpPr>
        <p:spPr>
          <a:xfrm>
            <a:off x="3653201" y="1232313"/>
            <a:ext cx="254452" cy="2179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100" b="1" dirty="0"/>
              <a:t>FIH</a:t>
            </a:r>
          </a:p>
        </p:txBody>
      </p:sp>
    </p:spTree>
    <p:extLst>
      <p:ext uri="{BB962C8B-B14F-4D97-AF65-F5344CB8AC3E}">
        <p14:creationId xmlns:p14="http://schemas.microsoft.com/office/powerpoint/2010/main" val="3940282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33F99DB9-0DE6-4181-8E20-D2C2023E41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b="1" dirty="0"/>
              <a:t>Ziel der Challenge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Welche Drohnen mit den Anforderungen der Bundeswehr gibt es bereits auf dem Markt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Max. Abfluggewicht der Drohne  &lt; 7 kg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Flugzeit: mind. 30 mi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Zielgruppe deutsche Hersteller und Start-ups/KMUs</a:t>
            </a:r>
          </a:p>
          <a:p>
            <a:r>
              <a:rPr lang="de-DE" b="1" dirty="0"/>
              <a:t>Erfolg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5 öffentliche &amp; 11 nicht-öffentlich eingereichte „Lösungen“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Guten Marktüberblick gewonnen</a:t>
            </a:r>
          </a:p>
          <a:p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83B2633-55D7-4A5E-BB3E-822B4DFB8A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72000" y="4963500"/>
            <a:ext cx="3182400" cy="180000"/>
          </a:xfrm>
        </p:spPr>
        <p:txBody>
          <a:bodyPr/>
          <a:lstStyle/>
          <a:p>
            <a:r>
              <a:rPr lang="de-DE" dirty="0"/>
              <a:t>ÖFFENTLICH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7E2C9C9-84EF-464E-806A-62160C7DBE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8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477BD14-9956-4386-8ABA-C70B3013BBC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Challenge von BAAINBw/WTD 61 GF 470 (nationales Kompetenzzentrum UAS)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CADBC77-6FCB-4142-A9B7-03456C21D87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  <a:p>
            <a:r>
              <a:rPr lang="de-DE" dirty="0"/>
              <a:t>KOINNO Challenge „Commercial / Military off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helf</a:t>
            </a:r>
            <a:r>
              <a:rPr lang="de-DE" dirty="0"/>
              <a:t> </a:t>
            </a:r>
            <a:r>
              <a:rPr lang="de-DE" dirty="0" err="1"/>
              <a:t>uas</a:t>
            </a:r>
            <a:r>
              <a:rPr lang="de-DE" dirty="0"/>
              <a:t> für die Bundeswehr“</a:t>
            </a:r>
          </a:p>
          <a:p>
            <a:endParaRPr lang="de-DE" dirty="0"/>
          </a:p>
        </p:txBody>
      </p:sp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C778E571-2A2C-44B2-A79B-B647B0B412E6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/>
          <a:stretch>
            <a:fillRect/>
          </a:stretch>
        </p:blipFill>
        <p:spPr>
          <a:xfrm>
            <a:off x="3683528" y="1132728"/>
            <a:ext cx="5376944" cy="287804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EE584C6-C83D-450E-8957-4DC72C6514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11687" y="4026052"/>
            <a:ext cx="1609950" cy="866896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6E88E357-0575-4B73-80E5-E07CBE6AC2CD}"/>
              </a:ext>
            </a:extLst>
          </p:cNvPr>
          <p:cNvSpPr txBox="1"/>
          <p:nvPr/>
        </p:nvSpPr>
        <p:spPr>
          <a:xfrm>
            <a:off x="6292800" y="4963500"/>
            <a:ext cx="1994400" cy="837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650" dirty="0"/>
              <a:t> Bild: Dominic </a:t>
            </a:r>
            <a:r>
              <a:rPr lang="de-DE" sz="650" dirty="0" err="1"/>
              <a:t>Sansotta</a:t>
            </a:r>
            <a:r>
              <a:rPr lang="de-DE" sz="650" dirty="0"/>
              <a:t>; Bundeswehr</a:t>
            </a:r>
          </a:p>
        </p:txBody>
      </p:sp>
    </p:spTree>
    <p:extLst>
      <p:ext uri="{BB962C8B-B14F-4D97-AF65-F5344CB8AC3E}">
        <p14:creationId xmlns:p14="http://schemas.microsoft.com/office/powerpoint/2010/main" val="20310282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20A84A1-9D81-466C-84F0-0F6B02AB63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de-DE" cap="all" dirty="0">
                <a:solidFill>
                  <a:srgbClr val="000000"/>
                </a:solidFill>
              </a:rPr>
              <a:t>Öffentlich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A59B4B2-7809-4D39-99FD-DB85C46C6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03746F-B42A-474D-94FA-02D6826DE614}" type="slidenum">
              <a:rPr lang="de-DE" smtClean="0"/>
              <a:t>9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DD9434E-D6F1-4D4B-B014-36AFFC2A39E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Welchen Nutzen haben Sie? </a:t>
            </a:r>
          </a:p>
          <a:p>
            <a:endParaRPr lang="de-DE" dirty="0"/>
          </a:p>
        </p:txBody>
      </p:sp>
      <p:sp>
        <p:nvSpPr>
          <p:cNvPr id="7" name="Gefaltete Ecke 9">
            <a:extLst>
              <a:ext uri="{FF2B5EF4-FFF2-40B4-BE49-F238E27FC236}">
                <a16:creationId xmlns:a16="http://schemas.microsoft.com/office/drawing/2014/main" id="{F1E5DDEE-BF67-4CB4-97EC-76A08556BC47}"/>
              </a:ext>
            </a:extLst>
          </p:cNvPr>
          <p:cNvSpPr/>
          <p:nvPr/>
        </p:nvSpPr>
        <p:spPr bwMode="auto">
          <a:xfrm rot="20426834">
            <a:off x="2282981" y="839235"/>
            <a:ext cx="1698091" cy="1112464"/>
          </a:xfrm>
          <a:prstGeom prst="foldedCorner">
            <a:avLst/>
          </a:prstGeom>
          <a:solidFill>
            <a:srgbClr val="485C6A"/>
          </a:solidFill>
          <a:ln w="1270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288000" rtlCol="0" anchor="ctr"/>
          <a:lstStyle/>
          <a:p>
            <a:pPr algn="ctr">
              <a:lnSpc>
                <a:spcPct val="90000"/>
              </a:lnSpc>
            </a:pPr>
            <a:endParaRPr lang="de-DE" sz="1000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de-DE" sz="1000" dirty="0">
                <a:solidFill>
                  <a:schemeClr val="bg1"/>
                </a:solidFill>
              </a:rPr>
              <a:t>Vernetzung im Innovationsökosystem</a:t>
            </a:r>
          </a:p>
          <a:p>
            <a:pPr algn="ctr">
              <a:lnSpc>
                <a:spcPct val="90000"/>
              </a:lnSpc>
            </a:pP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8" name="Gefaltete Ecke 23">
            <a:extLst>
              <a:ext uri="{FF2B5EF4-FFF2-40B4-BE49-F238E27FC236}">
                <a16:creationId xmlns:a16="http://schemas.microsoft.com/office/drawing/2014/main" id="{7FF0D741-6D77-4AB1-BF9D-96687B16A5DC}"/>
              </a:ext>
            </a:extLst>
          </p:cNvPr>
          <p:cNvSpPr/>
          <p:nvPr/>
        </p:nvSpPr>
        <p:spPr bwMode="auto">
          <a:xfrm rot="21267964">
            <a:off x="3760832" y="1584020"/>
            <a:ext cx="2163064" cy="2439778"/>
          </a:xfrm>
          <a:prstGeom prst="foldedCorner">
            <a:avLst/>
          </a:prstGeom>
          <a:solidFill>
            <a:srgbClr val="F9B600"/>
          </a:solidFill>
          <a:ln w="1270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288000" rtlCol="0" anchor="ctr"/>
          <a:lstStyle/>
          <a:p>
            <a:pPr algn="ctr">
              <a:lnSpc>
                <a:spcPct val="90000"/>
              </a:lnSpc>
            </a:pPr>
            <a:endParaRPr lang="de-DE" b="1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endParaRPr lang="de-DE" b="1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de-DE" b="1" dirty="0">
                <a:solidFill>
                  <a:schemeClr val="bg1"/>
                </a:solidFill>
              </a:rPr>
              <a:t>Austausch zwischen</a:t>
            </a:r>
            <a:br>
              <a:rPr lang="de-DE" b="1" dirty="0">
                <a:solidFill>
                  <a:schemeClr val="bg1"/>
                </a:solidFill>
              </a:rPr>
            </a:br>
            <a:endParaRPr lang="de-DE" b="1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de-DE" b="1" dirty="0">
                <a:solidFill>
                  <a:schemeClr val="bg1"/>
                </a:solidFill>
              </a:rPr>
              <a:t>Ideengebenden &amp;</a:t>
            </a:r>
          </a:p>
          <a:p>
            <a:pPr algn="ctr">
              <a:lnSpc>
                <a:spcPct val="90000"/>
              </a:lnSpc>
            </a:pPr>
            <a:r>
              <a:rPr lang="de-DE" b="1" dirty="0">
                <a:solidFill>
                  <a:schemeClr val="bg1"/>
                </a:solidFill>
              </a:rPr>
              <a:t>Nutzenden &amp;</a:t>
            </a:r>
          </a:p>
          <a:p>
            <a:pPr algn="ctr">
              <a:lnSpc>
                <a:spcPct val="90000"/>
              </a:lnSpc>
            </a:pPr>
            <a:r>
              <a:rPr lang="de-DE" b="1" dirty="0">
                <a:solidFill>
                  <a:schemeClr val="bg1"/>
                </a:solidFill>
              </a:rPr>
              <a:t>Planung</a:t>
            </a:r>
          </a:p>
        </p:txBody>
      </p:sp>
      <p:sp>
        <p:nvSpPr>
          <p:cNvPr id="9" name="Gefaltete Ecke 9">
            <a:extLst>
              <a:ext uri="{FF2B5EF4-FFF2-40B4-BE49-F238E27FC236}">
                <a16:creationId xmlns:a16="http://schemas.microsoft.com/office/drawing/2014/main" id="{1DF2EC4C-4957-4793-8EDD-B232EBC6F111}"/>
              </a:ext>
            </a:extLst>
          </p:cNvPr>
          <p:cNvSpPr/>
          <p:nvPr/>
        </p:nvSpPr>
        <p:spPr bwMode="auto">
          <a:xfrm rot="1077064">
            <a:off x="6505903" y="1015128"/>
            <a:ext cx="1793466" cy="1112464"/>
          </a:xfrm>
          <a:prstGeom prst="foldedCorner">
            <a:avLst/>
          </a:prstGeom>
          <a:solidFill>
            <a:srgbClr val="485C6A"/>
          </a:solidFill>
          <a:ln w="1270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288000" rtlCol="0" anchor="ctr"/>
          <a:lstStyle/>
          <a:p>
            <a:pPr algn="ctr">
              <a:lnSpc>
                <a:spcPct val="90000"/>
              </a:lnSpc>
            </a:pPr>
            <a:r>
              <a:rPr lang="de-DE" sz="1000" dirty="0">
                <a:solidFill>
                  <a:schemeClr val="bg1"/>
                </a:solidFill>
              </a:rPr>
              <a:t>Kennenlernen von </a:t>
            </a:r>
            <a:br>
              <a:rPr lang="de-DE" sz="1000" dirty="0">
                <a:solidFill>
                  <a:schemeClr val="bg1"/>
                </a:solidFill>
              </a:rPr>
            </a:br>
            <a:r>
              <a:rPr lang="de-DE" sz="1000" dirty="0">
                <a:solidFill>
                  <a:schemeClr val="bg1"/>
                </a:solidFill>
              </a:rPr>
              <a:t>Themen der Bw </a:t>
            </a:r>
          </a:p>
        </p:txBody>
      </p:sp>
      <p:sp>
        <p:nvSpPr>
          <p:cNvPr id="10" name="Gefaltete Ecke 17">
            <a:extLst>
              <a:ext uri="{FF2B5EF4-FFF2-40B4-BE49-F238E27FC236}">
                <a16:creationId xmlns:a16="http://schemas.microsoft.com/office/drawing/2014/main" id="{C6A9056A-6C2C-41B1-A73F-A35455F14961}"/>
              </a:ext>
            </a:extLst>
          </p:cNvPr>
          <p:cNvSpPr/>
          <p:nvPr/>
        </p:nvSpPr>
        <p:spPr bwMode="auto">
          <a:xfrm rot="738953">
            <a:off x="7202336" y="2574183"/>
            <a:ext cx="1290298" cy="1112464"/>
          </a:xfrm>
          <a:prstGeom prst="foldedCorner">
            <a:avLst/>
          </a:prstGeom>
          <a:solidFill>
            <a:srgbClr val="485C6A"/>
          </a:solidFill>
          <a:ln w="1270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288000" rtlCol="0" anchor="ctr"/>
          <a:lstStyle/>
          <a:p>
            <a:pPr lvl="0" algn="ctr">
              <a:lnSpc>
                <a:spcPct val="90000"/>
              </a:lnSpc>
              <a:spcAft>
                <a:spcPts val="1300"/>
              </a:spcAft>
              <a:buClr>
                <a:srgbClr val="004471"/>
              </a:buClr>
              <a:defRPr/>
            </a:pPr>
            <a:endParaRPr lang="de-DE" sz="1000" dirty="0">
              <a:solidFill>
                <a:schemeClr val="bg1"/>
              </a:solidFill>
            </a:endParaRPr>
          </a:p>
          <a:p>
            <a:pPr lvl="0" algn="ctr">
              <a:lnSpc>
                <a:spcPct val="90000"/>
              </a:lnSpc>
              <a:spcAft>
                <a:spcPts val="1300"/>
              </a:spcAft>
              <a:buClr>
                <a:srgbClr val="004471"/>
              </a:buClr>
              <a:defRPr/>
            </a:pPr>
            <a:r>
              <a:rPr lang="de-DE" sz="1000" dirty="0">
                <a:solidFill>
                  <a:schemeClr val="bg1"/>
                </a:solidFill>
              </a:rPr>
              <a:t>Förderung und Weiterentwicklung </a:t>
            </a:r>
            <a:r>
              <a:rPr lang="de-DE" sz="1600" dirty="0">
                <a:solidFill>
                  <a:srgbClr val="485C6A"/>
                </a:solidFill>
              </a:rPr>
              <a:t>von Ideen</a:t>
            </a:r>
          </a:p>
        </p:txBody>
      </p:sp>
      <p:sp>
        <p:nvSpPr>
          <p:cNvPr id="11" name="Gefaltete Ecke 17">
            <a:extLst>
              <a:ext uri="{FF2B5EF4-FFF2-40B4-BE49-F238E27FC236}">
                <a16:creationId xmlns:a16="http://schemas.microsoft.com/office/drawing/2014/main" id="{73462AFB-5308-4F72-A7FD-B4F7B01B4C8F}"/>
              </a:ext>
            </a:extLst>
          </p:cNvPr>
          <p:cNvSpPr/>
          <p:nvPr/>
        </p:nvSpPr>
        <p:spPr bwMode="auto">
          <a:xfrm rot="613676">
            <a:off x="507165" y="3255226"/>
            <a:ext cx="1810659" cy="1112464"/>
          </a:xfrm>
          <a:prstGeom prst="foldedCorner">
            <a:avLst/>
          </a:prstGeom>
          <a:solidFill>
            <a:srgbClr val="485C6A"/>
          </a:solidFill>
          <a:ln w="1270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288000" rtlCol="0" anchor="ctr"/>
          <a:lstStyle/>
          <a:p>
            <a:pPr algn="ctr">
              <a:lnSpc>
                <a:spcPct val="90000"/>
              </a:lnSpc>
            </a:pPr>
            <a:endParaRPr lang="de-DE" sz="1000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de-DE" sz="1000" dirty="0">
                <a:solidFill>
                  <a:schemeClr val="bg1"/>
                </a:solidFill>
              </a:rPr>
              <a:t>Mitgestaltung bei Zukunftsthemen </a:t>
            </a:r>
          </a:p>
          <a:p>
            <a:pPr algn="ctr">
              <a:lnSpc>
                <a:spcPct val="90000"/>
              </a:lnSpc>
            </a:pP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2" name="Gefaltete Ecke 17">
            <a:extLst>
              <a:ext uri="{FF2B5EF4-FFF2-40B4-BE49-F238E27FC236}">
                <a16:creationId xmlns:a16="http://schemas.microsoft.com/office/drawing/2014/main" id="{6BB60518-885B-42D8-9FC8-56E3E2E1495A}"/>
              </a:ext>
            </a:extLst>
          </p:cNvPr>
          <p:cNvSpPr/>
          <p:nvPr/>
        </p:nvSpPr>
        <p:spPr bwMode="auto">
          <a:xfrm rot="380212">
            <a:off x="559871" y="1652656"/>
            <a:ext cx="1534669" cy="1112464"/>
          </a:xfrm>
          <a:prstGeom prst="foldedCorner">
            <a:avLst/>
          </a:prstGeom>
          <a:solidFill>
            <a:srgbClr val="485C6A"/>
          </a:solidFill>
          <a:ln w="1270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288000" rtlCol="0" anchor="ctr"/>
          <a:lstStyle/>
          <a:p>
            <a:pPr lvl="0" algn="ctr">
              <a:lnSpc>
                <a:spcPct val="90000"/>
              </a:lnSpc>
              <a:spcAft>
                <a:spcPts val="1300"/>
              </a:spcAft>
              <a:buClr>
                <a:srgbClr val="004471"/>
              </a:buClr>
              <a:defRPr/>
            </a:pPr>
            <a:r>
              <a:rPr lang="de-DE" sz="1000" dirty="0">
                <a:solidFill>
                  <a:schemeClr val="bg1"/>
                </a:solidFill>
              </a:rPr>
              <a:t>Teilhabemöglichkeiten an Innovationsförderung </a:t>
            </a:r>
          </a:p>
        </p:txBody>
      </p:sp>
      <p:sp>
        <p:nvSpPr>
          <p:cNvPr id="13" name="Gefaltete Ecke 18">
            <a:extLst>
              <a:ext uri="{FF2B5EF4-FFF2-40B4-BE49-F238E27FC236}">
                <a16:creationId xmlns:a16="http://schemas.microsoft.com/office/drawing/2014/main" id="{89C1D11F-7A3F-44CA-A57F-43E004E896C0}"/>
              </a:ext>
            </a:extLst>
          </p:cNvPr>
          <p:cNvSpPr/>
          <p:nvPr/>
        </p:nvSpPr>
        <p:spPr bwMode="auto">
          <a:xfrm rot="317452">
            <a:off x="3020826" y="3604869"/>
            <a:ext cx="1500525" cy="1211972"/>
          </a:xfrm>
          <a:prstGeom prst="foldedCorner">
            <a:avLst/>
          </a:prstGeom>
          <a:solidFill>
            <a:srgbClr val="485C6A"/>
          </a:solidFill>
          <a:ln w="1270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288000" rtlCol="0" anchor="ctr"/>
          <a:lstStyle/>
          <a:p>
            <a:pPr algn="ctr">
              <a:lnSpc>
                <a:spcPct val="90000"/>
              </a:lnSpc>
            </a:pPr>
            <a:endParaRPr lang="de-DE" sz="1000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de-DE" sz="1000" dirty="0">
                <a:solidFill>
                  <a:schemeClr val="bg1"/>
                </a:solidFill>
              </a:rPr>
              <a:t>Austausch</a:t>
            </a:r>
            <a:r>
              <a:rPr lang="de-DE" sz="1600" dirty="0">
                <a:solidFill>
                  <a:srgbClr val="485C6A"/>
                </a:solidFill>
              </a:rPr>
              <a:t> </a:t>
            </a:r>
            <a:r>
              <a:rPr lang="de-DE" sz="1000" dirty="0">
                <a:solidFill>
                  <a:schemeClr val="bg1"/>
                </a:solidFill>
              </a:rPr>
              <a:t>mit Nutzerinnen/Nutzern aus Truppe </a:t>
            </a:r>
          </a:p>
          <a:p>
            <a:pPr algn="ctr">
              <a:lnSpc>
                <a:spcPct val="90000"/>
              </a:lnSpc>
            </a:pP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14" name="Gefaltete Ecke 9">
            <a:extLst>
              <a:ext uri="{FF2B5EF4-FFF2-40B4-BE49-F238E27FC236}">
                <a16:creationId xmlns:a16="http://schemas.microsoft.com/office/drawing/2014/main" id="{2F8BACF2-921A-41B7-B1E5-0D0FD5897A48}"/>
              </a:ext>
            </a:extLst>
          </p:cNvPr>
          <p:cNvSpPr/>
          <p:nvPr/>
        </p:nvSpPr>
        <p:spPr bwMode="auto">
          <a:xfrm>
            <a:off x="6121581" y="3671157"/>
            <a:ext cx="1178262" cy="1112464"/>
          </a:xfrm>
          <a:prstGeom prst="foldedCorner">
            <a:avLst/>
          </a:prstGeom>
          <a:solidFill>
            <a:srgbClr val="485C6A"/>
          </a:solidFill>
          <a:ln w="12700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288000" rtlCol="0" anchor="ctr"/>
          <a:lstStyle/>
          <a:p>
            <a:pPr algn="ctr">
              <a:lnSpc>
                <a:spcPct val="90000"/>
              </a:lnSpc>
            </a:pPr>
            <a:endParaRPr lang="de-DE" sz="1000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de-DE" sz="1000" dirty="0">
                <a:solidFill>
                  <a:schemeClr val="bg1"/>
                </a:solidFill>
              </a:rPr>
              <a:t>Expertise über  Planungsprozess</a:t>
            </a:r>
          </a:p>
          <a:p>
            <a:pPr algn="ctr">
              <a:lnSpc>
                <a:spcPct val="90000"/>
              </a:lnSpc>
            </a:pPr>
            <a:endParaRPr lang="de-DE" sz="1600" dirty="0">
              <a:solidFill>
                <a:schemeClr val="bg1"/>
              </a:solidFill>
            </a:endParaRP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5C681791-C517-4A25-99EF-D3FBEF81D5B0}"/>
              </a:ext>
            </a:extLst>
          </p:cNvPr>
          <p:cNvGrpSpPr>
            <a:grpSpLocks noChangeAspect="1"/>
          </p:cNvGrpSpPr>
          <p:nvPr/>
        </p:nvGrpSpPr>
        <p:grpSpPr>
          <a:xfrm rot="21401186">
            <a:off x="4505801" y="1830160"/>
            <a:ext cx="538695" cy="492484"/>
            <a:chOff x="5388189" y="3694324"/>
            <a:chExt cx="552450" cy="505063"/>
          </a:xfrm>
        </p:grpSpPr>
        <p:sp>
          <p:nvSpPr>
            <p:cNvPr id="36" name="Freihandform: Form 92">
              <a:extLst>
                <a:ext uri="{FF2B5EF4-FFF2-40B4-BE49-F238E27FC236}">
                  <a16:creationId xmlns:a16="http://schemas.microsoft.com/office/drawing/2014/main" id="{AEB8D51F-944E-4744-9348-0DDB3B929E3D}"/>
                </a:ext>
              </a:extLst>
            </p:cNvPr>
            <p:cNvSpPr/>
            <p:nvPr/>
          </p:nvSpPr>
          <p:spPr>
            <a:xfrm>
              <a:off x="5764427" y="4010554"/>
              <a:ext cx="100250" cy="100250"/>
            </a:xfrm>
            <a:custGeom>
              <a:avLst/>
              <a:gdLst>
                <a:gd name="connsiteX0" fmla="*/ 53340 w 100250"/>
                <a:gd name="connsiteY0" fmla="*/ 0 h 100250"/>
                <a:gd name="connsiteX1" fmla="*/ 89535 w 100250"/>
                <a:gd name="connsiteY1" fmla="*/ 36195 h 100250"/>
                <a:gd name="connsiteX2" fmla="*/ 89535 w 100250"/>
                <a:gd name="connsiteY2" fmla="*/ 89535 h 100250"/>
                <a:gd name="connsiteX3" fmla="*/ 89535 w 100250"/>
                <a:gd name="connsiteY3" fmla="*/ 89535 h 100250"/>
                <a:gd name="connsiteX4" fmla="*/ 36195 w 100250"/>
                <a:gd name="connsiteY4" fmla="*/ 89535 h 100250"/>
                <a:gd name="connsiteX5" fmla="*/ 0 w 100250"/>
                <a:gd name="connsiteY5" fmla="*/ 53340 h 100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250" h="100250">
                  <a:moveTo>
                    <a:pt x="53340" y="0"/>
                  </a:moveTo>
                  <a:lnTo>
                    <a:pt x="89535" y="36195"/>
                  </a:lnTo>
                  <a:cubicBezTo>
                    <a:pt x="103822" y="50483"/>
                    <a:pt x="103822" y="74295"/>
                    <a:pt x="89535" y="89535"/>
                  </a:cubicBezTo>
                  <a:lnTo>
                    <a:pt x="89535" y="89535"/>
                  </a:lnTo>
                  <a:cubicBezTo>
                    <a:pt x="75247" y="103823"/>
                    <a:pt x="51435" y="103823"/>
                    <a:pt x="36195" y="89535"/>
                  </a:cubicBezTo>
                  <a:lnTo>
                    <a:pt x="0" y="53340"/>
                  </a:ln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ihandform: Form 93">
              <a:extLst>
                <a:ext uri="{FF2B5EF4-FFF2-40B4-BE49-F238E27FC236}">
                  <a16:creationId xmlns:a16="http://schemas.microsoft.com/office/drawing/2014/main" id="{AD58F128-C1A0-487E-B15C-93A6462D10E5}"/>
                </a:ext>
              </a:extLst>
            </p:cNvPr>
            <p:cNvSpPr/>
            <p:nvPr/>
          </p:nvSpPr>
          <p:spPr>
            <a:xfrm>
              <a:off x="5702515" y="4116282"/>
              <a:ext cx="37385" cy="80009"/>
            </a:xfrm>
            <a:custGeom>
              <a:avLst/>
              <a:gdLst>
                <a:gd name="connsiteX0" fmla="*/ 9525 w 37385"/>
                <a:gd name="connsiteY0" fmla="*/ 0 h 80009"/>
                <a:gd name="connsiteX1" fmla="*/ 26670 w 37385"/>
                <a:gd name="connsiteY1" fmla="*/ 17145 h 80009"/>
                <a:gd name="connsiteX2" fmla="*/ 26670 w 37385"/>
                <a:gd name="connsiteY2" fmla="*/ 69532 h 80009"/>
                <a:gd name="connsiteX3" fmla="*/ 26670 w 37385"/>
                <a:gd name="connsiteY3" fmla="*/ 69532 h 80009"/>
                <a:gd name="connsiteX4" fmla="*/ 0 w 37385"/>
                <a:gd name="connsiteY4" fmla="*/ 80010 h 80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385" h="80009">
                  <a:moveTo>
                    <a:pt x="9525" y="0"/>
                  </a:moveTo>
                  <a:lnTo>
                    <a:pt x="26670" y="17145"/>
                  </a:lnTo>
                  <a:cubicBezTo>
                    <a:pt x="40957" y="31432"/>
                    <a:pt x="40957" y="55245"/>
                    <a:pt x="26670" y="69532"/>
                  </a:cubicBezTo>
                  <a:lnTo>
                    <a:pt x="26670" y="69532"/>
                  </a:lnTo>
                  <a:cubicBezTo>
                    <a:pt x="20002" y="76200"/>
                    <a:pt x="10477" y="80010"/>
                    <a:pt x="0" y="80010"/>
                  </a:cubicBez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ihandform: Form 94">
              <a:extLst>
                <a:ext uri="{FF2B5EF4-FFF2-40B4-BE49-F238E27FC236}">
                  <a16:creationId xmlns:a16="http://schemas.microsoft.com/office/drawing/2014/main" id="{8091B83B-0FB8-4D5E-B07B-AFDD26F51A42}"/>
                </a:ext>
              </a:extLst>
            </p:cNvPr>
            <p:cNvSpPr/>
            <p:nvPr/>
          </p:nvSpPr>
          <p:spPr>
            <a:xfrm>
              <a:off x="5388189" y="3694324"/>
              <a:ext cx="209549" cy="228599"/>
            </a:xfrm>
            <a:custGeom>
              <a:avLst/>
              <a:gdLst>
                <a:gd name="connsiteX0" fmla="*/ 38100 w 209549"/>
                <a:gd name="connsiteY0" fmla="*/ 228600 h 228599"/>
                <a:gd name="connsiteX1" fmla="*/ 38100 w 209549"/>
                <a:gd name="connsiteY1" fmla="*/ 171450 h 228599"/>
                <a:gd name="connsiteX2" fmla="*/ 0 w 209549"/>
                <a:gd name="connsiteY2" fmla="*/ 133350 h 228599"/>
                <a:gd name="connsiteX3" fmla="*/ 133350 w 209549"/>
                <a:gd name="connsiteY3" fmla="*/ 0 h 228599"/>
                <a:gd name="connsiteX4" fmla="*/ 161925 w 209549"/>
                <a:gd name="connsiteY4" fmla="*/ 28575 h 228599"/>
                <a:gd name="connsiteX5" fmla="*/ 209550 w 209549"/>
                <a:gd name="connsiteY5" fmla="*/ 28575 h 2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9" h="228599">
                  <a:moveTo>
                    <a:pt x="38100" y="228600"/>
                  </a:moveTo>
                  <a:lnTo>
                    <a:pt x="38100" y="171450"/>
                  </a:lnTo>
                  <a:lnTo>
                    <a:pt x="0" y="133350"/>
                  </a:lnTo>
                  <a:lnTo>
                    <a:pt x="133350" y="0"/>
                  </a:lnTo>
                  <a:lnTo>
                    <a:pt x="161925" y="28575"/>
                  </a:lnTo>
                  <a:lnTo>
                    <a:pt x="209550" y="28575"/>
                  </a:ln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ihandform: Form 96">
              <a:extLst>
                <a:ext uri="{FF2B5EF4-FFF2-40B4-BE49-F238E27FC236}">
                  <a16:creationId xmlns:a16="http://schemas.microsoft.com/office/drawing/2014/main" id="{AA6A82BA-5717-4B01-8E84-17B986316B42}"/>
                </a:ext>
              </a:extLst>
            </p:cNvPr>
            <p:cNvSpPr/>
            <p:nvPr/>
          </p:nvSpPr>
          <p:spPr>
            <a:xfrm>
              <a:off x="5575594" y="4120806"/>
              <a:ext cx="78581" cy="78581"/>
            </a:xfrm>
            <a:custGeom>
              <a:avLst/>
              <a:gdLst>
                <a:gd name="connsiteX0" fmla="*/ 10716 w 78581"/>
                <a:gd name="connsiteY0" fmla="*/ 15478 h 78581"/>
                <a:gd name="connsiteX1" fmla="*/ 15478 w 78581"/>
                <a:gd name="connsiteY1" fmla="*/ 10716 h 78581"/>
                <a:gd name="connsiteX2" fmla="*/ 67866 w 78581"/>
                <a:gd name="connsiteY2" fmla="*/ 10716 h 78581"/>
                <a:gd name="connsiteX3" fmla="*/ 67866 w 78581"/>
                <a:gd name="connsiteY3" fmla="*/ 10716 h 78581"/>
                <a:gd name="connsiteX4" fmla="*/ 67866 w 78581"/>
                <a:gd name="connsiteY4" fmla="*/ 63103 h 78581"/>
                <a:gd name="connsiteX5" fmla="*/ 63103 w 78581"/>
                <a:gd name="connsiteY5" fmla="*/ 67866 h 78581"/>
                <a:gd name="connsiteX6" fmla="*/ 10716 w 78581"/>
                <a:gd name="connsiteY6" fmla="*/ 67866 h 78581"/>
                <a:gd name="connsiteX7" fmla="*/ 10716 w 78581"/>
                <a:gd name="connsiteY7" fmla="*/ 67866 h 78581"/>
                <a:gd name="connsiteX8" fmla="*/ 10716 w 78581"/>
                <a:gd name="connsiteY8" fmla="*/ 15478 h 78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581" h="78581">
                  <a:moveTo>
                    <a:pt x="10716" y="15478"/>
                  </a:moveTo>
                  <a:lnTo>
                    <a:pt x="15478" y="10716"/>
                  </a:lnTo>
                  <a:cubicBezTo>
                    <a:pt x="29766" y="-3572"/>
                    <a:pt x="53578" y="-3572"/>
                    <a:pt x="67866" y="10716"/>
                  </a:cubicBezTo>
                  <a:lnTo>
                    <a:pt x="67866" y="10716"/>
                  </a:lnTo>
                  <a:cubicBezTo>
                    <a:pt x="82153" y="25003"/>
                    <a:pt x="82153" y="48816"/>
                    <a:pt x="67866" y="63103"/>
                  </a:cubicBezTo>
                  <a:lnTo>
                    <a:pt x="63103" y="67866"/>
                  </a:lnTo>
                  <a:cubicBezTo>
                    <a:pt x="48816" y="82153"/>
                    <a:pt x="25003" y="82153"/>
                    <a:pt x="10716" y="67866"/>
                  </a:cubicBezTo>
                  <a:lnTo>
                    <a:pt x="10716" y="67866"/>
                  </a:lnTo>
                  <a:cubicBezTo>
                    <a:pt x="-3572" y="52626"/>
                    <a:pt x="-3572" y="29766"/>
                    <a:pt x="10716" y="15478"/>
                  </a:cubicBez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ihandform: Form 98">
              <a:extLst>
                <a:ext uri="{FF2B5EF4-FFF2-40B4-BE49-F238E27FC236}">
                  <a16:creationId xmlns:a16="http://schemas.microsoft.com/office/drawing/2014/main" id="{EDE414F3-A4F8-486A-9D14-6BEB67B23191}"/>
                </a:ext>
              </a:extLst>
            </p:cNvPr>
            <p:cNvSpPr/>
            <p:nvPr/>
          </p:nvSpPr>
          <p:spPr>
            <a:xfrm>
              <a:off x="5519396" y="4073181"/>
              <a:ext cx="76676" cy="76676"/>
            </a:xfrm>
            <a:custGeom>
              <a:avLst/>
              <a:gdLst>
                <a:gd name="connsiteX0" fmla="*/ 10716 w 76676"/>
                <a:gd name="connsiteY0" fmla="*/ 13573 h 76676"/>
                <a:gd name="connsiteX1" fmla="*/ 13573 w 76676"/>
                <a:gd name="connsiteY1" fmla="*/ 10716 h 76676"/>
                <a:gd name="connsiteX2" fmla="*/ 65961 w 76676"/>
                <a:gd name="connsiteY2" fmla="*/ 10716 h 76676"/>
                <a:gd name="connsiteX3" fmla="*/ 65961 w 76676"/>
                <a:gd name="connsiteY3" fmla="*/ 10716 h 76676"/>
                <a:gd name="connsiteX4" fmla="*/ 65961 w 76676"/>
                <a:gd name="connsiteY4" fmla="*/ 63103 h 76676"/>
                <a:gd name="connsiteX5" fmla="*/ 63103 w 76676"/>
                <a:gd name="connsiteY5" fmla="*/ 65961 h 76676"/>
                <a:gd name="connsiteX6" fmla="*/ 10716 w 76676"/>
                <a:gd name="connsiteY6" fmla="*/ 65961 h 76676"/>
                <a:gd name="connsiteX7" fmla="*/ 10716 w 76676"/>
                <a:gd name="connsiteY7" fmla="*/ 65961 h 76676"/>
                <a:gd name="connsiteX8" fmla="*/ 10716 w 76676"/>
                <a:gd name="connsiteY8" fmla="*/ 13573 h 76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676" h="76676">
                  <a:moveTo>
                    <a:pt x="10716" y="13573"/>
                  </a:moveTo>
                  <a:lnTo>
                    <a:pt x="13573" y="10716"/>
                  </a:lnTo>
                  <a:cubicBezTo>
                    <a:pt x="27861" y="-3572"/>
                    <a:pt x="51673" y="-3572"/>
                    <a:pt x="65961" y="10716"/>
                  </a:cubicBezTo>
                  <a:lnTo>
                    <a:pt x="65961" y="10716"/>
                  </a:lnTo>
                  <a:cubicBezTo>
                    <a:pt x="80248" y="25003"/>
                    <a:pt x="80248" y="48816"/>
                    <a:pt x="65961" y="63103"/>
                  </a:cubicBezTo>
                  <a:lnTo>
                    <a:pt x="63103" y="65961"/>
                  </a:lnTo>
                  <a:cubicBezTo>
                    <a:pt x="48816" y="80248"/>
                    <a:pt x="25003" y="80248"/>
                    <a:pt x="10716" y="65961"/>
                  </a:cubicBezTo>
                  <a:lnTo>
                    <a:pt x="10716" y="65961"/>
                  </a:lnTo>
                  <a:cubicBezTo>
                    <a:pt x="-3572" y="51673"/>
                    <a:pt x="-3572" y="27861"/>
                    <a:pt x="10716" y="13573"/>
                  </a:cubicBez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eihandform: Form 99">
              <a:extLst>
                <a:ext uri="{FF2B5EF4-FFF2-40B4-BE49-F238E27FC236}">
                  <a16:creationId xmlns:a16="http://schemas.microsoft.com/office/drawing/2014/main" id="{EAF0B81D-52E2-4BFA-A9A2-A92F96C7105E}"/>
                </a:ext>
              </a:extLst>
            </p:cNvPr>
            <p:cNvSpPr/>
            <p:nvPr/>
          </p:nvSpPr>
          <p:spPr>
            <a:xfrm>
              <a:off x="5729185" y="4092470"/>
              <a:ext cx="75485" cy="63103"/>
            </a:xfrm>
            <a:custGeom>
              <a:avLst/>
              <a:gdLst>
                <a:gd name="connsiteX0" fmla="*/ 64770 w 75485"/>
                <a:gd name="connsiteY0" fmla="*/ 0 h 63103"/>
                <a:gd name="connsiteX1" fmla="*/ 64770 w 75485"/>
                <a:gd name="connsiteY1" fmla="*/ 52388 h 63103"/>
                <a:gd name="connsiteX2" fmla="*/ 64770 w 75485"/>
                <a:gd name="connsiteY2" fmla="*/ 52388 h 63103"/>
                <a:gd name="connsiteX3" fmla="*/ 64770 w 75485"/>
                <a:gd name="connsiteY3" fmla="*/ 52388 h 63103"/>
                <a:gd name="connsiteX4" fmla="*/ 12382 w 75485"/>
                <a:gd name="connsiteY4" fmla="*/ 52388 h 63103"/>
                <a:gd name="connsiteX5" fmla="*/ 0 w 75485"/>
                <a:gd name="connsiteY5" fmla="*/ 40005 h 63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485" h="63103">
                  <a:moveTo>
                    <a:pt x="64770" y="0"/>
                  </a:moveTo>
                  <a:cubicBezTo>
                    <a:pt x="79057" y="14288"/>
                    <a:pt x="79057" y="38100"/>
                    <a:pt x="64770" y="52388"/>
                  </a:cubicBezTo>
                  <a:cubicBezTo>
                    <a:pt x="64770" y="52388"/>
                    <a:pt x="64770" y="52388"/>
                    <a:pt x="64770" y="52388"/>
                  </a:cubicBezTo>
                  <a:lnTo>
                    <a:pt x="64770" y="52388"/>
                  </a:lnTo>
                  <a:cubicBezTo>
                    <a:pt x="50482" y="66675"/>
                    <a:pt x="26670" y="66675"/>
                    <a:pt x="12382" y="52388"/>
                  </a:cubicBezTo>
                  <a:lnTo>
                    <a:pt x="0" y="40005"/>
                  </a:ln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ihandform: Form 100">
              <a:extLst>
                <a:ext uri="{FF2B5EF4-FFF2-40B4-BE49-F238E27FC236}">
                  <a16:creationId xmlns:a16="http://schemas.microsoft.com/office/drawing/2014/main" id="{D1F6BDB2-B875-46C0-B09C-EFAC93B6BDDC}"/>
                </a:ext>
              </a:extLst>
            </p:cNvPr>
            <p:cNvSpPr/>
            <p:nvPr/>
          </p:nvSpPr>
          <p:spPr>
            <a:xfrm>
              <a:off x="5773952" y="3861012"/>
              <a:ext cx="131091" cy="185975"/>
            </a:xfrm>
            <a:custGeom>
              <a:avLst/>
              <a:gdLst>
                <a:gd name="connsiteX0" fmla="*/ 69532 w 131091"/>
                <a:gd name="connsiteY0" fmla="*/ 175260 h 185975"/>
                <a:gd name="connsiteX1" fmla="*/ 120967 w 131091"/>
                <a:gd name="connsiteY1" fmla="*/ 175260 h 185975"/>
                <a:gd name="connsiteX2" fmla="*/ 121920 w 131091"/>
                <a:gd name="connsiteY2" fmla="*/ 174308 h 185975"/>
                <a:gd name="connsiteX3" fmla="*/ 121920 w 131091"/>
                <a:gd name="connsiteY3" fmla="*/ 174308 h 185975"/>
                <a:gd name="connsiteX4" fmla="*/ 120967 w 131091"/>
                <a:gd name="connsiteY4" fmla="*/ 124778 h 185975"/>
                <a:gd name="connsiteX5" fmla="*/ 0 w 131091"/>
                <a:gd name="connsiteY5" fmla="*/ 0 h 185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1091" h="185975">
                  <a:moveTo>
                    <a:pt x="69532" y="175260"/>
                  </a:moveTo>
                  <a:cubicBezTo>
                    <a:pt x="83820" y="189548"/>
                    <a:pt x="106680" y="189548"/>
                    <a:pt x="120967" y="175260"/>
                  </a:cubicBezTo>
                  <a:cubicBezTo>
                    <a:pt x="120967" y="175260"/>
                    <a:pt x="121920" y="174308"/>
                    <a:pt x="121920" y="174308"/>
                  </a:cubicBezTo>
                  <a:lnTo>
                    <a:pt x="121920" y="174308"/>
                  </a:lnTo>
                  <a:cubicBezTo>
                    <a:pt x="134302" y="160020"/>
                    <a:pt x="134302" y="138113"/>
                    <a:pt x="120967" y="124778"/>
                  </a:cubicBezTo>
                  <a:lnTo>
                    <a:pt x="0" y="0"/>
                  </a:lnTo>
                </a:path>
              </a:pathLst>
            </a:custGeom>
            <a:noFill/>
            <a:ln w="19050" cap="flat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Freihandform: Form 101">
              <a:extLst>
                <a:ext uri="{FF2B5EF4-FFF2-40B4-BE49-F238E27FC236}">
                  <a16:creationId xmlns:a16="http://schemas.microsoft.com/office/drawing/2014/main" id="{434391D4-0E97-49A8-B960-EFCBC0BCFDB1}"/>
                </a:ext>
              </a:extLst>
            </p:cNvPr>
            <p:cNvSpPr/>
            <p:nvPr/>
          </p:nvSpPr>
          <p:spPr>
            <a:xfrm>
              <a:off x="5538086" y="3694324"/>
              <a:ext cx="402553" cy="228599"/>
            </a:xfrm>
            <a:custGeom>
              <a:avLst/>
              <a:gdLst>
                <a:gd name="connsiteX0" fmla="*/ 364454 w 402553"/>
                <a:gd name="connsiteY0" fmla="*/ 228600 h 228599"/>
                <a:gd name="connsiteX1" fmla="*/ 364454 w 402553"/>
                <a:gd name="connsiteY1" fmla="*/ 171450 h 228599"/>
                <a:gd name="connsiteX2" fmla="*/ 402554 w 402553"/>
                <a:gd name="connsiteY2" fmla="*/ 133350 h 228599"/>
                <a:gd name="connsiteX3" fmla="*/ 269204 w 402553"/>
                <a:gd name="connsiteY3" fmla="*/ 0 h 228599"/>
                <a:gd name="connsiteX4" fmla="*/ 240629 w 402553"/>
                <a:gd name="connsiteY4" fmla="*/ 28575 h 228599"/>
                <a:gd name="connsiteX5" fmla="*/ 177764 w 402553"/>
                <a:gd name="connsiteY5" fmla="*/ 28575 h 228599"/>
                <a:gd name="connsiteX6" fmla="*/ 96801 w 402553"/>
                <a:gd name="connsiteY6" fmla="*/ 61913 h 228599"/>
                <a:gd name="connsiteX7" fmla="*/ 9171 w 402553"/>
                <a:gd name="connsiteY7" fmla="*/ 153353 h 228599"/>
                <a:gd name="connsiteX8" fmla="*/ 10124 w 402553"/>
                <a:gd name="connsiteY8" fmla="*/ 199073 h 228599"/>
                <a:gd name="connsiteX9" fmla="*/ 51081 w 402553"/>
                <a:gd name="connsiteY9" fmla="*/ 202883 h 228599"/>
                <a:gd name="connsiteX10" fmla="*/ 144426 w 402553"/>
                <a:gd name="connsiteY10" fmla="*/ 142875 h 228599"/>
                <a:gd name="connsiteX11" fmla="*/ 264441 w 402553"/>
                <a:gd name="connsiteY11" fmla="*/ 150495 h 228599"/>
                <a:gd name="connsiteX12" fmla="*/ 273014 w 402553"/>
                <a:gd name="connsiteY12" fmla="*/ 141923 h 22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02553" h="228599">
                  <a:moveTo>
                    <a:pt x="364454" y="228600"/>
                  </a:moveTo>
                  <a:lnTo>
                    <a:pt x="364454" y="171450"/>
                  </a:lnTo>
                  <a:lnTo>
                    <a:pt x="402554" y="133350"/>
                  </a:lnTo>
                  <a:lnTo>
                    <a:pt x="269204" y="0"/>
                  </a:lnTo>
                  <a:lnTo>
                    <a:pt x="240629" y="28575"/>
                  </a:lnTo>
                  <a:lnTo>
                    <a:pt x="177764" y="28575"/>
                  </a:lnTo>
                  <a:cubicBezTo>
                    <a:pt x="147284" y="28575"/>
                    <a:pt x="117756" y="40958"/>
                    <a:pt x="96801" y="61913"/>
                  </a:cubicBezTo>
                  <a:lnTo>
                    <a:pt x="9171" y="153353"/>
                  </a:lnTo>
                  <a:cubicBezTo>
                    <a:pt x="-3211" y="165735"/>
                    <a:pt x="-3211" y="186690"/>
                    <a:pt x="10124" y="199073"/>
                  </a:cubicBezTo>
                  <a:cubicBezTo>
                    <a:pt x="21554" y="209550"/>
                    <a:pt x="38699" y="211455"/>
                    <a:pt x="51081" y="202883"/>
                  </a:cubicBezTo>
                  <a:lnTo>
                    <a:pt x="144426" y="142875"/>
                  </a:lnTo>
                  <a:cubicBezTo>
                    <a:pt x="175859" y="178118"/>
                    <a:pt x="229199" y="180975"/>
                    <a:pt x="264441" y="150495"/>
                  </a:cubicBezTo>
                  <a:cubicBezTo>
                    <a:pt x="267299" y="147638"/>
                    <a:pt x="270156" y="144780"/>
                    <a:pt x="273014" y="141923"/>
                  </a:cubicBezTo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4" name="Freihandform: Form 98">
              <a:extLst>
                <a:ext uri="{FF2B5EF4-FFF2-40B4-BE49-F238E27FC236}">
                  <a16:creationId xmlns:a16="http://schemas.microsoft.com/office/drawing/2014/main" id="{22E53ED1-3EB9-452C-9FF1-D265D283C15F}"/>
                </a:ext>
              </a:extLst>
            </p:cNvPr>
            <p:cNvSpPr/>
            <p:nvPr/>
          </p:nvSpPr>
          <p:spPr>
            <a:xfrm>
              <a:off x="5459389" y="4022341"/>
              <a:ext cx="76676" cy="76676"/>
            </a:xfrm>
            <a:custGeom>
              <a:avLst/>
              <a:gdLst>
                <a:gd name="connsiteX0" fmla="*/ 10716 w 76676"/>
                <a:gd name="connsiteY0" fmla="*/ 13573 h 76676"/>
                <a:gd name="connsiteX1" fmla="*/ 13573 w 76676"/>
                <a:gd name="connsiteY1" fmla="*/ 10716 h 76676"/>
                <a:gd name="connsiteX2" fmla="*/ 65961 w 76676"/>
                <a:gd name="connsiteY2" fmla="*/ 10716 h 76676"/>
                <a:gd name="connsiteX3" fmla="*/ 65961 w 76676"/>
                <a:gd name="connsiteY3" fmla="*/ 10716 h 76676"/>
                <a:gd name="connsiteX4" fmla="*/ 65961 w 76676"/>
                <a:gd name="connsiteY4" fmla="*/ 63103 h 76676"/>
                <a:gd name="connsiteX5" fmla="*/ 63103 w 76676"/>
                <a:gd name="connsiteY5" fmla="*/ 65961 h 76676"/>
                <a:gd name="connsiteX6" fmla="*/ 10716 w 76676"/>
                <a:gd name="connsiteY6" fmla="*/ 65961 h 76676"/>
                <a:gd name="connsiteX7" fmla="*/ 10716 w 76676"/>
                <a:gd name="connsiteY7" fmla="*/ 65961 h 76676"/>
                <a:gd name="connsiteX8" fmla="*/ 10716 w 76676"/>
                <a:gd name="connsiteY8" fmla="*/ 13573 h 76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676" h="76676">
                  <a:moveTo>
                    <a:pt x="10716" y="13573"/>
                  </a:moveTo>
                  <a:lnTo>
                    <a:pt x="13573" y="10716"/>
                  </a:lnTo>
                  <a:cubicBezTo>
                    <a:pt x="27861" y="-3572"/>
                    <a:pt x="51673" y="-3572"/>
                    <a:pt x="65961" y="10716"/>
                  </a:cubicBezTo>
                  <a:lnTo>
                    <a:pt x="65961" y="10716"/>
                  </a:lnTo>
                  <a:cubicBezTo>
                    <a:pt x="80248" y="25003"/>
                    <a:pt x="80248" y="48816"/>
                    <a:pt x="65961" y="63103"/>
                  </a:cubicBezTo>
                  <a:lnTo>
                    <a:pt x="63103" y="65961"/>
                  </a:lnTo>
                  <a:cubicBezTo>
                    <a:pt x="48816" y="80248"/>
                    <a:pt x="25003" y="80248"/>
                    <a:pt x="10716" y="65961"/>
                  </a:cubicBezTo>
                  <a:lnTo>
                    <a:pt x="10716" y="65961"/>
                  </a:lnTo>
                  <a:cubicBezTo>
                    <a:pt x="-3572" y="51673"/>
                    <a:pt x="-3572" y="27861"/>
                    <a:pt x="10716" y="13573"/>
                  </a:cubicBez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5" name="Freihandform: Form 98">
              <a:extLst>
                <a:ext uri="{FF2B5EF4-FFF2-40B4-BE49-F238E27FC236}">
                  <a16:creationId xmlns:a16="http://schemas.microsoft.com/office/drawing/2014/main" id="{CE94EF00-EC80-44E7-9FEA-EE7EF228268D}"/>
                </a:ext>
              </a:extLst>
            </p:cNvPr>
            <p:cNvSpPr/>
            <p:nvPr/>
          </p:nvSpPr>
          <p:spPr>
            <a:xfrm>
              <a:off x="5399382" y="3970864"/>
              <a:ext cx="76676" cy="76676"/>
            </a:xfrm>
            <a:custGeom>
              <a:avLst/>
              <a:gdLst>
                <a:gd name="connsiteX0" fmla="*/ 10716 w 76676"/>
                <a:gd name="connsiteY0" fmla="*/ 13573 h 76676"/>
                <a:gd name="connsiteX1" fmla="*/ 13573 w 76676"/>
                <a:gd name="connsiteY1" fmla="*/ 10716 h 76676"/>
                <a:gd name="connsiteX2" fmla="*/ 65961 w 76676"/>
                <a:gd name="connsiteY2" fmla="*/ 10716 h 76676"/>
                <a:gd name="connsiteX3" fmla="*/ 65961 w 76676"/>
                <a:gd name="connsiteY3" fmla="*/ 10716 h 76676"/>
                <a:gd name="connsiteX4" fmla="*/ 65961 w 76676"/>
                <a:gd name="connsiteY4" fmla="*/ 63103 h 76676"/>
                <a:gd name="connsiteX5" fmla="*/ 63103 w 76676"/>
                <a:gd name="connsiteY5" fmla="*/ 65961 h 76676"/>
                <a:gd name="connsiteX6" fmla="*/ 10716 w 76676"/>
                <a:gd name="connsiteY6" fmla="*/ 65961 h 76676"/>
                <a:gd name="connsiteX7" fmla="*/ 10716 w 76676"/>
                <a:gd name="connsiteY7" fmla="*/ 65961 h 76676"/>
                <a:gd name="connsiteX8" fmla="*/ 10716 w 76676"/>
                <a:gd name="connsiteY8" fmla="*/ 13573 h 76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6676" h="76676">
                  <a:moveTo>
                    <a:pt x="10716" y="13573"/>
                  </a:moveTo>
                  <a:lnTo>
                    <a:pt x="13573" y="10716"/>
                  </a:lnTo>
                  <a:cubicBezTo>
                    <a:pt x="27861" y="-3572"/>
                    <a:pt x="51673" y="-3572"/>
                    <a:pt x="65961" y="10716"/>
                  </a:cubicBezTo>
                  <a:lnTo>
                    <a:pt x="65961" y="10716"/>
                  </a:lnTo>
                  <a:cubicBezTo>
                    <a:pt x="80248" y="25003"/>
                    <a:pt x="80248" y="48816"/>
                    <a:pt x="65961" y="63103"/>
                  </a:cubicBezTo>
                  <a:lnTo>
                    <a:pt x="63103" y="65961"/>
                  </a:lnTo>
                  <a:cubicBezTo>
                    <a:pt x="48816" y="80248"/>
                    <a:pt x="25003" y="80248"/>
                    <a:pt x="10716" y="65961"/>
                  </a:cubicBezTo>
                  <a:lnTo>
                    <a:pt x="10716" y="65961"/>
                  </a:lnTo>
                  <a:cubicBezTo>
                    <a:pt x="-3572" y="51673"/>
                    <a:pt x="-3572" y="27861"/>
                    <a:pt x="10716" y="13573"/>
                  </a:cubicBezTo>
                  <a:close/>
                </a:path>
              </a:pathLst>
            </a:custGeom>
            <a:noFill/>
            <a:ln w="19050" cap="sq">
              <a:solidFill>
                <a:srgbClr val="485C6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105DB668-6E5B-47A5-A8A4-20114F662B11}"/>
              </a:ext>
            </a:extLst>
          </p:cNvPr>
          <p:cNvGrpSpPr>
            <a:grpSpLocks noChangeAspect="1"/>
          </p:cNvGrpSpPr>
          <p:nvPr/>
        </p:nvGrpSpPr>
        <p:grpSpPr>
          <a:xfrm rot="20331584">
            <a:off x="2319054" y="1161940"/>
            <a:ext cx="232265" cy="232265"/>
            <a:chOff x="7973089" y="4465361"/>
            <a:chExt cx="571500" cy="571500"/>
          </a:xfrm>
          <a:solidFill>
            <a:schemeClr val="bg1">
              <a:lumMod val="95000"/>
            </a:schemeClr>
          </a:solidFill>
        </p:grpSpPr>
        <p:sp>
          <p:nvSpPr>
            <p:cNvPr id="25" name="Freihandform: Form 155">
              <a:extLst>
                <a:ext uri="{FF2B5EF4-FFF2-40B4-BE49-F238E27FC236}">
                  <a16:creationId xmlns:a16="http://schemas.microsoft.com/office/drawing/2014/main" id="{C9C2EB2D-8B8D-4033-A7B7-55A7550E4868}"/>
                </a:ext>
              </a:extLst>
            </p:cNvPr>
            <p:cNvSpPr/>
            <p:nvPr/>
          </p:nvSpPr>
          <p:spPr>
            <a:xfrm>
              <a:off x="8373139" y="478921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" name="Freihandform: Form 156">
              <a:extLst>
                <a:ext uri="{FF2B5EF4-FFF2-40B4-BE49-F238E27FC236}">
                  <a16:creationId xmlns:a16="http://schemas.microsoft.com/office/drawing/2014/main" id="{82405743-8440-483A-AD21-5564C9D4921D}"/>
                </a:ext>
              </a:extLst>
            </p:cNvPr>
            <p:cNvSpPr/>
            <p:nvPr/>
          </p:nvSpPr>
          <p:spPr>
            <a:xfrm>
              <a:off x="8030239" y="478921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" name="Freihandform: Form 157">
              <a:extLst>
                <a:ext uri="{FF2B5EF4-FFF2-40B4-BE49-F238E27FC236}">
                  <a16:creationId xmlns:a16="http://schemas.microsoft.com/office/drawing/2014/main" id="{9BE4D5ED-75B8-4DC8-A101-C25E9BDD2A97}"/>
                </a:ext>
              </a:extLst>
            </p:cNvPr>
            <p:cNvSpPr/>
            <p:nvPr/>
          </p:nvSpPr>
          <p:spPr>
            <a:xfrm>
              <a:off x="8144539" y="4636811"/>
              <a:ext cx="228600" cy="76200"/>
            </a:xfrm>
            <a:custGeom>
              <a:avLst/>
              <a:gdLst>
                <a:gd name="connsiteX0" fmla="*/ 228600 w 228600"/>
                <a:gd name="connsiteY0" fmla="*/ 76200 h 76200"/>
                <a:gd name="connsiteX1" fmla="*/ 228600 w 228600"/>
                <a:gd name="connsiteY1" fmla="*/ 57150 h 76200"/>
                <a:gd name="connsiteX2" fmla="*/ 209550 w 228600"/>
                <a:gd name="connsiteY2" fmla="*/ 24765 h 76200"/>
                <a:gd name="connsiteX3" fmla="*/ 114300 w 228600"/>
                <a:gd name="connsiteY3" fmla="*/ 0 h 76200"/>
                <a:gd name="connsiteX4" fmla="*/ 18097 w 228600"/>
                <a:gd name="connsiteY4" fmla="*/ 24765 h 76200"/>
                <a:gd name="connsiteX5" fmla="*/ 0 w 228600"/>
                <a:gd name="connsiteY5" fmla="*/ 57150 h 76200"/>
                <a:gd name="connsiteX6" fmla="*/ 0 w 228600"/>
                <a:gd name="connsiteY6" fmla="*/ 76200 h 76200"/>
                <a:gd name="connsiteX7" fmla="*/ 228600 w 228600"/>
                <a:gd name="connsiteY7" fmla="*/ 762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8600" h="76200">
                  <a:moveTo>
                    <a:pt x="228600" y="76200"/>
                  </a:moveTo>
                  <a:lnTo>
                    <a:pt x="228600" y="57150"/>
                  </a:lnTo>
                  <a:cubicBezTo>
                    <a:pt x="228600" y="43815"/>
                    <a:pt x="221933" y="31432"/>
                    <a:pt x="209550" y="24765"/>
                  </a:cubicBezTo>
                  <a:cubicBezTo>
                    <a:pt x="191452" y="13335"/>
                    <a:pt x="159068" y="0"/>
                    <a:pt x="114300" y="0"/>
                  </a:cubicBezTo>
                  <a:cubicBezTo>
                    <a:pt x="68580" y="0"/>
                    <a:pt x="37147" y="13335"/>
                    <a:pt x="18097" y="24765"/>
                  </a:cubicBezTo>
                  <a:cubicBezTo>
                    <a:pt x="6668" y="31432"/>
                    <a:pt x="0" y="43815"/>
                    <a:pt x="0" y="57150"/>
                  </a:cubicBezTo>
                  <a:lnTo>
                    <a:pt x="0" y="76200"/>
                  </a:lnTo>
                  <a:lnTo>
                    <a:pt x="228600" y="76200"/>
                  </a:lnTo>
                  <a:close/>
                </a:path>
              </a:pathLst>
            </a:custGeom>
            <a:grp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Freihandform: Form 158">
              <a:extLst>
                <a:ext uri="{FF2B5EF4-FFF2-40B4-BE49-F238E27FC236}">
                  <a16:creationId xmlns:a16="http://schemas.microsoft.com/office/drawing/2014/main" id="{0D3D2FB1-727D-44B3-B2C6-FF2F9722772C}"/>
                </a:ext>
              </a:extLst>
            </p:cNvPr>
            <p:cNvSpPr/>
            <p:nvPr/>
          </p:nvSpPr>
          <p:spPr>
            <a:xfrm>
              <a:off x="7973089" y="4960661"/>
              <a:ext cx="228600" cy="76200"/>
            </a:xfrm>
            <a:custGeom>
              <a:avLst/>
              <a:gdLst>
                <a:gd name="connsiteX0" fmla="*/ 228600 w 228600"/>
                <a:gd name="connsiteY0" fmla="*/ 76200 h 76200"/>
                <a:gd name="connsiteX1" fmla="*/ 228600 w 228600"/>
                <a:gd name="connsiteY1" fmla="*/ 57150 h 76200"/>
                <a:gd name="connsiteX2" fmla="*/ 209550 w 228600"/>
                <a:gd name="connsiteY2" fmla="*/ 24765 h 76200"/>
                <a:gd name="connsiteX3" fmla="*/ 114300 w 228600"/>
                <a:gd name="connsiteY3" fmla="*/ 0 h 76200"/>
                <a:gd name="connsiteX4" fmla="*/ 18098 w 228600"/>
                <a:gd name="connsiteY4" fmla="*/ 24765 h 76200"/>
                <a:gd name="connsiteX5" fmla="*/ 0 w 228600"/>
                <a:gd name="connsiteY5" fmla="*/ 57150 h 76200"/>
                <a:gd name="connsiteX6" fmla="*/ 0 w 228600"/>
                <a:gd name="connsiteY6" fmla="*/ 76200 h 76200"/>
                <a:gd name="connsiteX7" fmla="*/ 228600 w 228600"/>
                <a:gd name="connsiteY7" fmla="*/ 762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8600" h="76200">
                  <a:moveTo>
                    <a:pt x="228600" y="76200"/>
                  </a:moveTo>
                  <a:lnTo>
                    <a:pt x="228600" y="57150"/>
                  </a:lnTo>
                  <a:cubicBezTo>
                    <a:pt x="228600" y="43815"/>
                    <a:pt x="221933" y="31432"/>
                    <a:pt x="209550" y="24765"/>
                  </a:cubicBezTo>
                  <a:cubicBezTo>
                    <a:pt x="191453" y="13335"/>
                    <a:pt x="159068" y="0"/>
                    <a:pt x="114300" y="0"/>
                  </a:cubicBezTo>
                  <a:cubicBezTo>
                    <a:pt x="68580" y="0"/>
                    <a:pt x="37148" y="13335"/>
                    <a:pt x="18098" y="24765"/>
                  </a:cubicBezTo>
                  <a:cubicBezTo>
                    <a:pt x="6668" y="31432"/>
                    <a:pt x="0" y="43815"/>
                    <a:pt x="0" y="57150"/>
                  </a:cubicBezTo>
                  <a:lnTo>
                    <a:pt x="0" y="76200"/>
                  </a:lnTo>
                  <a:lnTo>
                    <a:pt x="228600" y="76200"/>
                  </a:lnTo>
                  <a:close/>
                </a:path>
              </a:pathLst>
            </a:custGeom>
            <a:grp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Freihandform: Form 159">
              <a:extLst>
                <a:ext uri="{FF2B5EF4-FFF2-40B4-BE49-F238E27FC236}">
                  <a16:creationId xmlns:a16="http://schemas.microsoft.com/office/drawing/2014/main" id="{223614B1-EBA3-482B-B7DB-3AF5ED3CEFBA}"/>
                </a:ext>
              </a:extLst>
            </p:cNvPr>
            <p:cNvSpPr/>
            <p:nvPr/>
          </p:nvSpPr>
          <p:spPr>
            <a:xfrm>
              <a:off x="8315989" y="4960661"/>
              <a:ext cx="228600" cy="76200"/>
            </a:xfrm>
            <a:custGeom>
              <a:avLst/>
              <a:gdLst>
                <a:gd name="connsiteX0" fmla="*/ 228600 w 228600"/>
                <a:gd name="connsiteY0" fmla="*/ 76200 h 76200"/>
                <a:gd name="connsiteX1" fmla="*/ 228600 w 228600"/>
                <a:gd name="connsiteY1" fmla="*/ 57150 h 76200"/>
                <a:gd name="connsiteX2" fmla="*/ 209550 w 228600"/>
                <a:gd name="connsiteY2" fmla="*/ 24765 h 76200"/>
                <a:gd name="connsiteX3" fmla="*/ 114300 w 228600"/>
                <a:gd name="connsiteY3" fmla="*/ 0 h 76200"/>
                <a:gd name="connsiteX4" fmla="*/ 18098 w 228600"/>
                <a:gd name="connsiteY4" fmla="*/ 24765 h 76200"/>
                <a:gd name="connsiteX5" fmla="*/ 0 w 228600"/>
                <a:gd name="connsiteY5" fmla="*/ 57150 h 76200"/>
                <a:gd name="connsiteX6" fmla="*/ 0 w 228600"/>
                <a:gd name="connsiteY6" fmla="*/ 76200 h 76200"/>
                <a:gd name="connsiteX7" fmla="*/ 228600 w 228600"/>
                <a:gd name="connsiteY7" fmla="*/ 762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8600" h="76200">
                  <a:moveTo>
                    <a:pt x="228600" y="76200"/>
                  </a:moveTo>
                  <a:lnTo>
                    <a:pt x="228600" y="57150"/>
                  </a:lnTo>
                  <a:cubicBezTo>
                    <a:pt x="228600" y="43815"/>
                    <a:pt x="221933" y="31432"/>
                    <a:pt x="209550" y="24765"/>
                  </a:cubicBezTo>
                  <a:cubicBezTo>
                    <a:pt x="191452" y="13335"/>
                    <a:pt x="159068" y="0"/>
                    <a:pt x="114300" y="0"/>
                  </a:cubicBezTo>
                  <a:cubicBezTo>
                    <a:pt x="68580" y="0"/>
                    <a:pt x="37148" y="13335"/>
                    <a:pt x="18098" y="24765"/>
                  </a:cubicBezTo>
                  <a:cubicBezTo>
                    <a:pt x="6668" y="31432"/>
                    <a:pt x="0" y="43815"/>
                    <a:pt x="0" y="57150"/>
                  </a:cubicBezTo>
                  <a:lnTo>
                    <a:pt x="0" y="76200"/>
                  </a:lnTo>
                  <a:lnTo>
                    <a:pt x="228600" y="76200"/>
                  </a:lnTo>
                  <a:close/>
                </a:path>
              </a:pathLst>
            </a:custGeom>
            <a:grp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Freihandform: Form 160">
              <a:extLst>
                <a:ext uri="{FF2B5EF4-FFF2-40B4-BE49-F238E27FC236}">
                  <a16:creationId xmlns:a16="http://schemas.microsoft.com/office/drawing/2014/main" id="{A2111F2B-3384-4639-AFAB-ADC553240987}"/>
                </a:ext>
              </a:extLst>
            </p:cNvPr>
            <p:cNvSpPr/>
            <p:nvPr/>
          </p:nvSpPr>
          <p:spPr>
            <a:xfrm>
              <a:off x="8201689" y="4465361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grp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32" name="Grafik 4">
            <a:extLst>
              <a:ext uri="{FF2B5EF4-FFF2-40B4-BE49-F238E27FC236}">
                <a16:creationId xmlns:a16="http://schemas.microsoft.com/office/drawing/2014/main" id="{2EDEE9AC-B155-491F-80FC-845712912FFD}"/>
              </a:ext>
            </a:extLst>
          </p:cNvPr>
          <p:cNvGrpSpPr>
            <a:grpSpLocks noChangeAspect="1"/>
          </p:cNvGrpSpPr>
          <p:nvPr/>
        </p:nvGrpSpPr>
        <p:grpSpPr>
          <a:xfrm rot="919412">
            <a:off x="687018" y="3219719"/>
            <a:ext cx="252000" cy="252000"/>
            <a:chOff x="656359" y="413905"/>
            <a:chExt cx="571500" cy="571500"/>
          </a:xfrm>
          <a:noFill/>
        </p:grpSpPr>
        <p:sp>
          <p:nvSpPr>
            <p:cNvPr id="33" name="Freihandform: Form 2">
              <a:extLst>
                <a:ext uri="{FF2B5EF4-FFF2-40B4-BE49-F238E27FC236}">
                  <a16:creationId xmlns:a16="http://schemas.microsoft.com/office/drawing/2014/main" id="{2FA98116-2668-4310-AB46-9CEEEC39E036}"/>
                </a:ext>
              </a:extLst>
            </p:cNvPr>
            <p:cNvSpPr/>
            <p:nvPr/>
          </p:nvSpPr>
          <p:spPr>
            <a:xfrm>
              <a:off x="942109" y="833005"/>
              <a:ext cx="9525" cy="76200"/>
            </a:xfrm>
            <a:custGeom>
              <a:avLst/>
              <a:gdLst>
                <a:gd name="connsiteX0" fmla="*/ 0 w 9525"/>
                <a:gd name="connsiteY0" fmla="*/ 76200 h 76200"/>
                <a:gd name="connsiteX1" fmla="*/ 0 w 9525"/>
                <a:gd name="connsiteY1" fmla="*/ 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6200">
                  <a:moveTo>
                    <a:pt x="0" y="76200"/>
                  </a:moveTo>
                  <a:lnTo>
                    <a:pt x="0" y="0"/>
                  </a:lnTo>
                </a:path>
              </a:pathLst>
            </a:custGeom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Freihandform: Form 23">
              <a:extLst>
                <a:ext uri="{FF2B5EF4-FFF2-40B4-BE49-F238E27FC236}">
                  <a16:creationId xmlns:a16="http://schemas.microsoft.com/office/drawing/2014/main" id="{A1860F5A-AD94-4C81-93CD-EAC78AC8325A}"/>
                </a:ext>
              </a:extLst>
            </p:cNvPr>
            <p:cNvSpPr/>
            <p:nvPr/>
          </p:nvSpPr>
          <p:spPr>
            <a:xfrm>
              <a:off x="1113559" y="709180"/>
              <a:ext cx="49530" cy="87630"/>
            </a:xfrm>
            <a:custGeom>
              <a:avLst/>
              <a:gdLst>
                <a:gd name="connsiteX0" fmla="*/ 0 w 49530"/>
                <a:gd name="connsiteY0" fmla="*/ 0 h 87630"/>
                <a:gd name="connsiteX1" fmla="*/ 0 w 49530"/>
                <a:gd name="connsiteY1" fmla="*/ 38100 h 87630"/>
                <a:gd name="connsiteX2" fmla="*/ 49530 w 49530"/>
                <a:gd name="connsiteY2" fmla="*/ 87630 h 87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530" h="87630">
                  <a:moveTo>
                    <a:pt x="0" y="0"/>
                  </a:moveTo>
                  <a:lnTo>
                    <a:pt x="0" y="38100"/>
                  </a:lnTo>
                  <a:lnTo>
                    <a:pt x="49530" y="87630"/>
                  </a:lnTo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6" name="Freihandform: Form 24">
              <a:extLst>
                <a:ext uri="{FF2B5EF4-FFF2-40B4-BE49-F238E27FC236}">
                  <a16:creationId xmlns:a16="http://schemas.microsoft.com/office/drawing/2014/main" id="{C6EC6B6D-3C3A-44D3-AA90-EFF1B535BD0C}"/>
                </a:ext>
              </a:extLst>
            </p:cNvPr>
            <p:cNvSpPr/>
            <p:nvPr/>
          </p:nvSpPr>
          <p:spPr>
            <a:xfrm>
              <a:off x="1151659" y="785380"/>
              <a:ext cx="76200" cy="76200"/>
            </a:xfrm>
            <a:custGeom>
              <a:avLst/>
              <a:gdLst>
                <a:gd name="connsiteX0" fmla="*/ 76200 w 76200"/>
                <a:gd name="connsiteY0" fmla="*/ 38100 h 76200"/>
                <a:gd name="connsiteX1" fmla="*/ 38100 w 76200"/>
                <a:gd name="connsiteY1" fmla="*/ 76200 h 76200"/>
                <a:gd name="connsiteX2" fmla="*/ 0 w 76200"/>
                <a:gd name="connsiteY2" fmla="*/ 38100 h 76200"/>
                <a:gd name="connsiteX3" fmla="*/ 38100 w 76200"/>
                <a:gd name="connsiteY3" fmla="*/ 0 h 76200"/>
                <a:gd name="connsiteX4" fmla="*/ 76200 w 76200"/>
                <a:gd name="connsiteY4" fmla="*/ 381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6200" y="38100"/>
                  </a:moveTo>
                  <a:cubicBezTo>
                    <a:pt x="76200" y="59142"/>
                    <a:pt x="59142" y="76200"/>
                    <a:pt x="38100" y="76200"/>
                  </a:cubicBezTo>
                  <a:cubicBezTo>
                    <a:pt x="17058" y="76200"/>
                    <a:pt x="0" y="59142"/>
                    <a:pt x="0" y="38100"/>
                  </a:cubicBezTo>
                  <a:cubicBezTo>
                    <a:pt x="0" y="17058"/>
                    <a:pt x="17058" y="0"/>
                    <a:pt x="38100" y="0"/>
                  </a:cubicBezTo>
                  <a:cubicBezTo>
                    <a:pt x="59142" y="0"/>
                    <a:pt x="76200" y="17058"/>
                    <a:pt x="76200" y="38100"/>
                  </a:cubicBezTo>
                  <a:close/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7" name="Freihandform: Form 33">
              <a:extLst>
                <a:ext uri="{FF2B5EF4-FFF2-40B4-BE49-F238E27FC236}">
                  <a16:creationId xmlns:a16="http://schemas.microsoft.com/office/drawing/2014/main" id="{84AF6A2B-1FFA-4732-B1D1-745C17C79A98}"/>
                </a:ext>
              </a:extLst>
            </p:cNvPr>
            <p:cNvSpPr/>
            <p:nvPr/>
          </p:nvSpPr>
          <p:spPr>
            <a:xfrm>
              <a:off x="721129" y="709180"/>
              <a:ext cx="49529" cy="87630"/>
            </a:xfrm>
            <a:custGeom>
              <a:avLst/>
              <a:gdLst>
                <a:gd name="connsiteX0" fmla="*/ 49530 w 49529"/>
                <a:gd name="connsiteY0" fmla="*/ 0 h 87630"/>
                <a:gd name="connsiteX1" fmla="*/ 49530 w 49529"/>
                <a:gd name="connsiteY1" fmla="*/ 38100 h 87630"/>
                <a:gd name="connsiteX2" fmla="*/ 0 w 49529"/>
                <a:gd name="connsiteY2" fmla="*/ 87630 h 87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9529" h="87630">
                  <a:moveTo>
                    <a:pt x="49530" y="0"/>
                  </a:moveTo>
                  <a:lnTo>
                    <a:pt x="49530" y="38100"/>
                  </a:lnTo>
                  <a:lnTo>
                    <a:pt x="0" y="87630"/>
                  </a:lnTo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8" name="Freihandform: Form 40">
              <a:extLst>
                <a:ext uri="{FF2B5EF4-FFF2-40B4-BE49-F238E27FC236}">
                  <a16:creationId xmlns:a16="http://schemas.microsoft.com/office/drawing/2014/main" id="{A3F214EC-69B2-4319-A2FF-9DE2DB8BE3FA}"/>
                </a:ext>
              </a:extLst>
            </p:cNvPr>
            <p:cNvSpPr/>
            <p:nvPr/>
          </p:nvSpPr>
          <p:spPr>
            <a:xfrm>
              <a:off x="656359" y="785380"/>
              <a:ext cx="76200" cy="76200"/>
            </a:xfrm>
            <a:custGeom>
              <a:avLst/>
              <a:gdLst>
                <a:gd name="connsiteX0" fmla="*/ 76200 w 76200"/>
                <a:gd name="connsiteY0" fmla="*/ 38100 h 76200"/>
                <a:gd name="connsiteX1" fmla="*/ 38100 w 76200"/>
                <a:gd name="connsiteY1" fmla="*/ 76200 h 76200"/>
                <a:gd name="connsiteX2" fmla="*/ 0 w 76200"/>
                <a:gd name="connsiteY2" fmla="*/ 38100 h 76200"/>
                <a:gd name="connsiteX3" fmla="*/ 38100 w 76200"/>
                <a:gd name="connsiteY3" fmla="*/ 0 h 76200"/>
                <a:gd name="connsiteX4" fmla="*/ 76200 w 76200"/>
                <a:gd name="connsiteY4" fmla="*/ 381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6200" y="38100"/>
                  </a:moveTo>
                  <a:cubicBezTo>
                    <a:pt x="76200" y="59142"/>
                    <a:pt x="59142" y="76200"/>
                    <a:pt x="38100" y="76200"/>
                  </a:cubicBezTo>
                  <a:cubicBezTo>
                    <a:pt x="17058" y="76200"/>
                    <a:pt x="0" y="59142"/>
                    <a:pt x="0" y="38100"/>
                  </a:cubicBezTo>
                  <a:cubicBezTo>
                    <a:pt x="0" y="17058"/>
                    <a:pt x="17058" y="0"/>
                    <a:pt x="38100" y="0"/>
                  </a:cubicBezTo>
                  <a:cubicBezTo>
                    <a:pt x="59142" y="0"/>
                    <a:pt x="76200" y="17058"/>
                    <a:pt x="76200" y="38100"/>
                  </a:cubicBezTo>
                  <a:close/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9" name="Freihandform: Form 41">
              <a:extLst>
                <a:ext uri="{FF2B5EF4-FFF2-40B4-BE49-F238E27FC236}">
                  <a16:creationId xmlns:a16="http://schemas.microsoft.com/office/drawing/2014/main" id="{3D3025F2-C07B-486C-8D0D-6087D5C002F3}"/>
                </a:ext>
              </a:extLst>
            </p:cNvPr>
            <p:cNvSpPr/>
            <p:nvPr/>
          </p:nvSpPr>
          <p:spPr>
            <a:xfrm>
              <a:off x="799234" y="794905"/>
              <a:ext cx="38100" cy="95250"/>
            </a:xfrm>
            <a:custGeom>
              <a:avLst/>
              <a:gdLst>
                <a:gd name="connsiteX0" fmla="*/ 0 w 38100"/>
                <a:gd name="connsiteY0" fmla="*/ 95250 h 95250"/>
                <a:gd name="connsiteX1" fmla="*/ 0 w 38100"/>
                <a:gd name="connsiteY1" fmla="*/ 57150 h 95250"/>
                <a:gd name="connsiteX2" fmla="*/ 38100 w 38100"/>
                <a:gd name="connsiteY2" fmla="*/ 19050 h 95250"/>
                <a:gd name="connsiteX3" fmla="*/ 38100 w 38100"/>
                <a:gd name="connsiteY3" fmla="*/ 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95250">
                  <a:moveTo>
                    <a:pt x="0" y="95250"/>
                  </a:moveTo>
                  <a:lnTo>
                    <a:pt x="0" y="57150"/>
                  </a:lnTo>
                  <a:lnTo>
                    <a:pt x="38100" y="19050"/>
                  </a:lnTo>
                  <a:lnTo>
                    <a:pt x="38100" y="0"/>
                  </a:lnTo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0" name="Freihandform: Form 42">
              <a:extLst>
                <a:ext uri="{FF2B5EF4-FFF2-40B4-BE49-F238E27FC236}">
                  <a16:creationId xmlns:a16="http://schemas.microsoft.com/office/drawing/2014/main" id="{C2A42429-F37E-4424-BE24-F3154B456F37}"/>
                </a:ext>
              </a:extLst>
            </p:cNvPr>
            <p:cNvSpPr/>
            <p:nvPr/>
          </p:nvSpPr>
          <p:spPr>
            <a:xfrm>
              <a:off x="761134" y="890155"/>
              <a:ext cx="76200" cy="76200"/>
            </a:xfrm>
            <a:custGeom>
              <a:avLst/>
              <a:gdLst>
                <a:gd name="connsiteX0" fmla="*/ 76200 w 76200"/>
                <a:gd name="connsiteY0" fmla="*/ 38100 h 76200"/>
                <a:gd name="connsiteX1" fmla="*/ 38100 w 76200"/>
                <a:gd name="connsiteY1" fmla="*/ 76200 h 76200"/>
                <a:gd name="connsiteX2" fmla="*/ 0 w 76200"/>
                <a:gd name="connsiteY2" fmla="*/ 38100 h 76200"/>
                <a:gd name="connsiteX3" fmla="*/ 38100 w 76200"/>
                <a:gd name="connsiteY3" fmla="*/ 0 h 76200"/>
                <a:gd name="connsiteX4" fmla="*/ 76200 w 76200"/>
                <a:gd name="connsiteY4" fmla="*/ 381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6200" y="38100"/>
                  </a:moveTo>
                  <a:cubicBezTo>
                    <a:pt x="76200" y="59142"/>
                    <a:pt x="59142" y="76200"/>
                    <a:pt x="38100" y="76200"/>
                  </a:cubicBezTo>
                  <a:cubicBezTo>
                    <a:pt x="17058" y="76200"/>
                    <a:pt x="0" y="59142"/>
                    <a:pt x="0" y="38100"/>
                  </a:cubicBezTo>
                  <a:cubicBezTo>
                    <a:pt x="0" y="17058"/>
                    <a:pt x="17058" y="0"/>
                    <a:pt x="38100" y="0"/>
                  </a:cubicBezTo>
                  <a:cubicBezTo>
                    <a:pt x="59142" y="0"/>
                    <a:pt x="76200" y="17058"/>
                    <a:pt x="76200" y="38100"/>
                  </a:cubicBezTo>
                  <a:close/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1" name="Freihandform: Form 43">
              <a:extLst>
                <a:ext uri="{FF2B5EF4-FFF2-40B4-BE49-F238E27FC236}">
                  <a16:creationId xmlns:a16="http://schemas.microsoft.com/office/drawing/2014/main" id="{972EEADF-604A-4654-AB3D-4EEF1941C67C}"/>
                </a:ext>
              </a:extLst>
            </p:cNvPr>
            <p:cNvSpPr/>
            <p:nvPr/>
          </p:nvSpPr>
          <p:spPr>
            <a:xfrm>
              <a:off x="1046884" y="794905"/>
              <a:ext cx="38100" cy="95250"/>
            </a:xfrm>
            <a:custGeom>
              <a:avLst/>
              <a:gdLst>
                <a:gd name="connsiteX0" fmla="*/ 38100 w 38100"/>
                <a:gd name="connsiteY0" fmla="*/ 95250 h 95250"/>
                <a:gd name="connsiteX1" fmla="*/ 38100 w 38100"/>
                <a:gd name="connsiteY1" fmla="*/ 57150 h 95250"/>
                <a:gd name="connsiteX2" fmla="*/ 0 w 38100"/>
                <a:gd name="connsiteY2" fmla="*/ 19050 h 95250"/>
                <a:gd name="connsiteX3" fmla="*/ 0 w 38100"/>
                <a:gd name="connsiteY3" fmla="*/ 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95250">
                  <a:moveTo>
                    <a:pt x="38100" y="95250"/>
                  </a:moveTo>
                  <a:lnTo>
                    <a:pt x="38100" y="57150"/>
                  </a:lnTo>
                  <a:lnTo>
                    <a:pt x="0" y="19050"/>
                  </a:lnTo>
                  <a:lnTo>
                    <a:pt x="0" y="0"/>
                  </a:lnTo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2" name="Freihandform: Form 44">
              <a:extLst>
                <a:ext uri="{FF2B5EF4-FFF2-40B4-BE49-F238E27FC236}">
                  <a16:creationId xmlns:a16="http://schemas.microsoft.com/office/drawing/2014/main" id="{C9B52B85-2BC3-41AF-9817-AA348575DF6E}"/>
                </a:ext>
              </a:extLst>
            </p:cNvPr>
            <p:cNvSpPr/>
            <p:nvPr/>
          </p:nvSpPr>
          <p:spPr>
            <a:xfrm>
              <a:off x="1046884" y="890155"/>
              <a:ext cx="76200" cy="76200"/>
            </a:xfrm>
            <a:custGeom>
              <a:avLst/>
              <a:gdLst>
                <a:gd name="connsiteX0" fmla="*/ 76200 w 76200"/>
                <a:gd name="connsiteY0" fmla="*/ 38100 h 76200"/>
                <a:gd name="connsiteX1" fmla="*/ 38100 w 76200"/>
                <a:gd name="connsiteY1" fmla="*/ 76200 h 76200"/>
                <a:gd name="connsiteX2" fmla="*/ 0 w 76200"/>
                <a:gd name="connsiteY2" fmla="*/ 38100 h 76200"/>
                <a:gd name="connsiteX3" fmla="*/ 38100 w 76200"/>
                <a:gd name="connsiteY3" fmla="*/ 0 h 76200"/>
                <a:gd name="connsiteX4" fmla="*/ 76200 w 76200"/>
                <a:gd name="connsiteY4" fmla="*/ 381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6200" y="38100"/>
                  </a:moveTo>
                  <a:cubicBezTo>
                    <a:pt x="76200" y="59142"/>
                    <a:pt x="59142" y="76200"/>
                    <a:pt x="38100" y="76200"/>
                  </a:cubicBezTo>
                  <a:cubicBezTo>
                    <a:pt x="17058" y="76200"/>
                    <a:pt x="0" y="59142"/>
                    <a:pt x="0" y="38100"/>
                  </a:cubicBezTo>
                  <a:cubicBezTo>
                    <a:pt x="0" y="17058"/>
                    <a:pt x="17058" y="0"/>
                    <a:pt x="38100" y="0"/>
                  </a:cubicBezTo>
                  <a:cubicBezTo>
                    <a:pt x="59142" y="0"/>
                    <a:pt x="76200" y="17058"/>
                    <a:pt x="76200" y="38100"/>
                  </a:cubicBezTo>
                  <a:close/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3" name="Freihandform: Form 45">
              <a:extLst>
                <a:ext uri="{FF2B5EF4-FFF2-40B4-BE49-F238E27FC236}">
                  <a16:creationId xmlns:a16="http://schemas.microsoft.com/office/drawing/2014/main" id="{0AF901AD-EC29-4FA3-914A-2B2CC890D08D}"/>
                </a:ext>
              </a:extLst>
            </p:cNvPr>
            <p:cNvSpPr/>
            <p:nvPr/>
          </p:nvSpPr>
          <p:spPr>
            <a:xfrm>
              <a:off x="904009" y="909205"/>
              <a:ext cx="76200" cy="76200"/>
            </a:xfrm>
            <a:custGeom>
              <a:avLst/>
              <a:gdLst>
                <a:gd name="connsiteX0" fmla="*/ 76200 w 76200"/>
                <a:gd name="connsiteY0" fmla="*/ 38100 h 76200"/>
                <a:gd name="connsiteX1" fmla="*/ 38100 w 76200"/>
                <a:gd name="connsiteY1" fmla="*/ 76200 h 76200"/>
                <a:gd name="connsiteX2" fmla="*/ 0 w 76200"/>
                <a:gd name="connsiteY2" fmla="*/ 38100 h 76200"/>
                <a:gd name="connsiteX3" fmla="*/ 38100 w 76200"/>
                <a:gd name="connsiteY3" fmla="*/ 0 h 76200"/>
                <a:gd name="connsiteX4" fmla="*/ 76200 w 76200"/>
                <a:gd name="connsiteY4" fmla="*/ 3810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6200" h="76200">
                  <a:moveTo>
                    <a:pt x="76200" y="38100"/>
                  </a:moveTo>
                  <a:cubicBezTo>
                    <a:pt x="76200" y="59142"/>
                    <a:pt x="59142" y="76200"/>
                    <a:pt x="38100" y="76200"/>
                  </a:cubicBezTo>
                  <a:cubicBezTo>
                    <a:pt x="17058" y="76200"/>
                    <a:pt x="0" y="59142"/>
                    <a:pt x="0" y="38100"/>
                  </a:cubicBezTo>
                  <a:cubicBezTo>
                    <a:pt x="0" y="17058"/>
                    <a:pt x="17058" y="0"/>
                    <a:pt x="38100" y="0"/>
                  </a:cubicBezTo>
                  <a:cubicBezTo>
                    <a:pt x="59142" y="0"/>
                    <a:pt x="76200" y="17058"/>
                    <a:pt x="76200" y="38100"/>
                  </a:cubicBezTo>
                  <a:close/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4" name="Freihandform: Form 46">
              <a:extLst>
                <a:ext uri="{FF2B5EF4-FFF2-40B4-BE49-F238E27FC236}">
                  <a16:creationId xmlns:a16="http://schemas.microsoft.com/office/drawing/2014/main" id="{15AF13F2-4C5D-41D9-9A9E-B02A7E5FC88C}"/>
                </a:ext>
              </a:extLst>
            </p:cNvPr>
            <p:cNvSpPr/>
            <p:nvPr/>
          </p:nvSpPr>
          <p:spPr>
            <a:xfrm>
              <a:off x="865909" y="623455"/>
              <a:ext cx="152400" cy="152400"/>
            </a:xfrm>
            <a:custGeom>
              <a:avLst/>
              <a:gdLst>
                <a:gd name="connsiteX0" fmla="*/ 152400 w 152400"/>
                <a:gd name="connsiteY0" fmla="*/ 76200 h 152400"/>
                <a:gd name="connsiteX1" fmla="*/ 76200 w 152400"/>
                <a:gd name="connsiteY1" fmla="*/ 152400 h 152400"/>
                <a:gd name="connsiteX2" fmla="*/ 0 w 152400"/>
                <a:gd name="connsiteY2" fmla="*/ 76200 h 152400"/>
                <a:gd name="connsiteX3" fmla="*/ 76200 w 152400"/>
                <a:gd name="connsiteY3" fmla="*/ 0 h 152400"/>
                <a:gd name="connsiteX4" fmla="*/ 152400 w 152400"/>
                <a:gd name="connsiteY4" fmla="*/ 762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400" h="152400">
                  <a:moveTo>
                    <a:pt x="152400" y="76200"/>
                  </a:moveTo>
                  <a:cubicBezTo>
                    <a:pt x="152400" y="118284"/>
                    <a:pt x="118284" y="152400"/>
                    <a:pt x="76200" y="152400"/>
                  </a:cubicBezTo>
                  <a:cubicBezTo>
                    <a:pt x="34116" y="152400"/>
                    <a:pt x="0" y="118284"/>
                    <a:pt x="0" y="76200"/>
                  </a:cubicBezTo>
                  <a:cubicBezTo>
                    <a:pt x="0" y="34116"/>
                    <a:pt x="34116" y="0"/>
                    <a:pt x="76200" y="0"/>
                  </a:cubicBezTo>
                  <a:cubicBezTo>
                    <a:pt x="118284" y="0"/>
                    <a:pt x="152400" y="34116"/>
                    <a:pt x="152400" y="76200"/>
                  </a:cubicBezTo>
                  <a:close/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5" name="Freihandform: Form 47">
              <a:extLst>
                <a:ext uri="{FF2B5EF4-FFF2-40B4-BE49-F238E27FC236}">
                  <a16:creationId xmlns:a16="http://schemas.microsoft.com/office/drawing/2014/main" id="{FDCA3DF1-8E8A-4B53-B21A-76DD8D0884FB}"/>
                </a:ext>
              </a:extLst>
            </p:cNvPr>
            <p:cNvSpPr/>
            <p:nvPr/>
          </p:nvSpPr>
          <p:spPr>
            <a:xfrm>
              <a:off x="656359" y="413905"/>
              <a:ext cx="571500" cy="304800"/>
            </a:xfrm>
            <a:custGeom>
              <a:avLst/>
              <a:gdLst>
                <a:gd name="connsiteX0" fmla="*/ 571500 w 571500"/>
                <a:gd name="connsiteY0" fmla="*/ 304800 h 304800"/>
                <a:gd name="connsiteX1" fmla="*/ 571500 w 571500"/>
                <a:gd name="connsiteY1" fmla="*/ 247650 h 304800"/>
                <a:gd name="connsiteX2" fmla="*/ 489585 w 571500"/>
                <a:gd name="connsiteY2" fmla="*/ 237173 h 304800"/>
                <a:gd name="connsiteX3" fmla="*/ 463868 w 571500"/>
                <a:gd name="connsiteY3" fmla="*/ 175260 h 304800"/>
                <a:gd name="connsiteX4" fmla="*/ 514350 w 571500"/>
                <a:gd name="connsiteY4" fmla="*/ 109538 h 304800"/>
                <a:gd name="connsiteX5" fmla="*/ 461010 w 571500"/>
                <a:gd name="connsiteY5" fmla="*/ 57150 h 304800"/>
                <a:gd name="connsiteX6" fmla="*/ 395288 w 571500"/>
                <a:gd name="connsiteY6" fmla="*/ 107633 h 304800"/>
                <a:gd name="connsiteX7" fmla="*/ 333375 w 571500"/>
                <a:gd name="connsiteY7" fmla="*/ 81915 h 304800"/>
                <a:gd name="connsiteX8" fmla="*/ 323850 w 571500"/>
                <a:gd name="connsiteY8" fmla="*/ 0 h 304800"/>
                <a:gd name="connsiteX9" fmla="*/ 247650 w 571500"/>
                <a:gd name="connsiteY9" fmla="*/ 0 h 304800"/>
                <a:gd name="connsiteX10" fmla="*/ 237173 w 571500"/>
                <a:gd name="connsiteY10" fmla="*/ 81915 h 304800"/>
                <a:gd name="connsiteX11" fmla="*/ 175260 w 571500"/>
                <a:gd name="connsiteY11" fmla="*/ 107633 h 304800"/>
                <a:gd name="connsiteX12" fmla="*/ 110490 w 571500"/>
                <a:gd name="connsiteY12" fmla="*/ 57150 h 304800"/>
                <a:gd name="connsiteX13" fmla="*/ 57150 w 571500"/>
                <a:gd name="connsiteY13" fmla="*/ 110490 h 304800"/>
                <a:gd name="connsiteX14" fmla="*/ 107633 w 571500"/>
                <a:gd name="connsiteY14" fmla="*/ 176213 h 304800"/>
                <a:gd name="connsiteX15" fmla="*/ 81915 w 571500"/>
                <a:gd name="connsiteY15" fmla="*/ 238125 h 304800"/>
                <a:gd name="connsiteX16" fmla="*/ 0 w 571500"/>
                <a:gd name="connsiteY16" fmla="*/ 247650 h 304800"/>
                <a:gd name="connsiteX17" fmla="*/ 0 w 571500"/>
                <a:gd name="connsiteY17" fmla="*/ 30480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71500" h="304800">
                  <a:moveTo>
                    <a:pt x="571500" y="304800"/>
                  </a:moveTo>
                  <a:lnTo>
                    <a:pt x="571500" y="247650"/>
                  </a:lnTo>
                  <a:lnTo>
                    <a:pt x="489585" y="237173"/>
                  </a:lnTo>
                  <a:cubicBezTo>
                    <a:pt x="484823" y="215265"/>
                    <a:pt x="476250" y="194310"/>
                    <a:pt x="463868" y="175260"/>
                  </a:cubicBezTo>
                  <a:lnTo>
                    <a:pt x="514350" y="109538"/>
                  </a:lnTo>
                  <a:lnTo>
                    <a:pt x="461010" y="57150"/>
                  </a:lnTo>
                  <a:lnTo>
                    <a:pt x="395288" y="107633"/>
                  </a:lnTo>
                  <a:cubicBezTo>
                    <a:pt x="376238" y="96203"/>
                    <a:pt x="355283" y="87630"/>
                    <a:pt x="333375" y="81915"/>
                  </a:cubicBezTo>
                  <a:lnTo>
                    <a:pt x="323850" y="0"/>
                  </a:lnTo>
                  <a:lnTo>
                    <a:pt x="247650" y="0"/>
                  </a:lnTo>
                  <a:lnTo>
                    <a:pt x="237173" y="81915"/>
                  </a:lnTo>
                  <a:cubicBezTo>
                    <a:pt x="215265" y="86678"/>
                    <a:pt x="194310" y="95250"/>
                    <a:pt x="175260" y="107633"/>
                  </a:cubicBezTo>
                  <a:lnTo>
                    <a:pt x="110490" y="57150"/>
                  </a:lnTo>
                  <a:lnTo>
                    <a:pt x="57150" y="110490"/>
                  </a:lnTo>
                  <a:lnTo>
                    <a:pt x="107633" y="176213"/>
                  </a:lnTo>
                  <a:cubicBezTo>
                    <a:pt x="96203" y="195263"/>
                    <a:pt x="87630" y="216218"/>
                    <a:pt x="81915" y="238125"/>
                  </a:cubicBezTo>
                  <a:lnTo>
                    <a:pt x="0" y="247650"/>
                  </a:lnTo>
                  <a:lnTo>
                    <a:pt x="0" y="304800"/>
                  </a:lnTo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96768909-C6E2-4A53-9920-D4C8EE878C75}"/>
              </a:ext>
            </a:extLst>
          </p:cNvPr>
          <p:cNvGrpSpPr>
            <a:grpSpLocks noChangeAspect="1"/>
          </p:cNvGrpSpPr>
          <p:nvPr/>
        </p:nvGrpSpPr>
        <p:grpSpPr>
          <a:xfrm rot="317685">
            <a:off x="3142620" y="3640231"/>
            <a:ext cx="260687" cy="252000"/>
            <a:chOff x="4192518" y="505375"/>
            <a:chExt cx="571500" cy="552450"/>
          </a:xfrm>
        </p:grpSpPr>
        <p:sp>
          <p:nvSpPr>
            <p:cNvPr id="57" name="Freihandform: Form 168">
              <a:extLst>
                <a:ext uri="{FF2B5EF4-FFF2-40B4-BE49-F238E27FC236}">
                  <a16:creationId xmlns:a16="http://schemas.microsoft.com/office/drawing/2014/main" id="{62FC8CBD-CC70-4497-9394-D0797B66FF71}"/>
                </a:ext>
              </a:extLst>
            </p:cNvPr>
            <p:cNvSpPr/>
            <p:nvPr/>
          </p:nvSpPr>
          <p:spPr>
            <a:xfrm>
              <a:off x="4440168" y="505375"/>
              <a:ext cx="323850" cy="266700"/>
            </a:xfrm>
            <a:custGeom>
              <a:avLst/>
              <a:gdLst>
                <a:gd name="connsiteX0" fmla="*/ 323850 w 323850"/>
                <a:gd name="connsiteY0" fmla="*/ 0 h 266700"/>
                <a:gd name="connsiteX1" fmla="*/ 0 w 323850"/>
                <a:gd name="connsiteY1" fmla="*/ 0 h 266700"/>
                <a:gd name="connsiteX2" fmla="*/ 0 w 323850"/>
                <a:gd name="connsiteY2" fmla="*/ 266700 h 266700"/>
                <a:gd name="connsiteX3" fmla="*/ 95250 w 323850"/>
                <a:gd name="connsiteY3" fmla="*/ 190500 h 266700"/>
                <a:gd name="connsiteX4" fmla="*/ 323850 w 323850"/>
                <a:gd name="connsiteY4" fmla="*/ 19050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0" h="266700">
                  <a:moveTo>
                    <a:pt x="323850" y="0"/>
                  </a:moveTo>
                  <a:lnTo>
                    <a:pt x="0" y="0"/>
                  </a:lnTo>
                  <a:lnTo>
                    <a:pt x="0" y="266700"/>
                  </a:lnTo>
                  <a:lnTo>
                    <a:pt x="95250" y="190500"/>
                  </a:lnTo>
                  <a:lnTo>
                    <a:pt x="323850" y="190500"/>
                  </a:lnTo>
                  <a:close/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8" name="Freihandform: Form 169">
              <a:extLst>
                <a:ext uri="{FF2B5EF4-FFF2-40B4-BE49-F238E27FC236}">
                  <a16:creationId xmlns:a16="http://schemas.microsoft.com/office/drawing/2014/main" id="{6D0D5475-C64A-41A9-80D9-20C9BBDAB91F}"/>
                </a:ext>
              </a:extLst>
            </p:cNvPr>
            <p:cNvSpPr/>
            <p:nvPr/>
          </p:nvSpPr>
          <p:spPr>
            <a:xfrm>
              <a:off x="4592568" y="772075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9" name="Freihandform: Form 170">
              <a:extLst>
                <a:ext uri="{FF2B5EF4-FFF2-40B4-BE49-F238E27FC236}">
                  <a16:creationId xmlns:a16="http://schemas.microsoft.com/office/drawing/2014/main" id="{AE106FE3-0783-4FCF-887B-A821934C7F9C}"/>
                </a:ext>
              </a:extLst>
            </p:cNvPr>
            <p:cNvSpPr/>
            <p:nvPr/>
          </p:nvSpPr>
          <p:spPr>
            <a:xfrm>
              <a:off x="4249668" y="772075"/>
              <a:ext cx="114300" cy="114300"/>
            </a:xfrm>
            <a:custGeom>
              <a:avLst/>
              <a:gdLst>
                <a:gd name="connsiteX0" fmla="*/ 114300 w 114300"/>
                <a:gd name="connsiteY0" fmla="*/ 57150 h 114300"/>
                <a:gd name="connsiteX1" fmla="*/ 57150 w 114300"/>
                <a:gd name="connsiteY1" fmla="*/ 114300 h 114300"/>
                <a:gd name="connsiteX2" fmla="*/ 0 w 114300"/>
                <a:gd name="connsiteY2" fmla="*/ 57150 h 114300"/>
                <a:gd name="connsiteX3" fmla="*/ 57150 w 114300"/>
                <a:gd name="connsiteY3" fmla="*/ 0 h 114300"/>
                <a:gd name="connsiteX4" fmla="*/ 114300 w 1143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300" y="57150"/>
                  </a:moveTo>
                  <a:cubicBezTo>
                    <a:pt x="114300" y="88713"/>
                    <a:pt x="88713" y="114300"/>
                    <a:pt x="57150" y="114300"/>
                  </a:cubicBezTo>
                  <a:cubicBezTo>
                    <a:pt x="25587" y="114300"/>
                    <a:pt x="0" y="88713"/>
                    <a:pt x="0" y="57150"/>
                  </a:cubicBezTo>
                  <a:cubicBezTo>
                    <a:pt x="0" y="25587"/>
                    <a:pt x="25587" y="0"/>
                    <a:pt x="57150" y="0"/>
                  </a:cubicBezTo>
                  <a:cubicBezTo>
                    <a:pt x="88713" y="0"/>
                    <a:pt x="114300" y="25587"/>
                    <a:pt x="114300" y="57150"/>
                  </a:cubicBezTo>
                  <a:close/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0" name="Freihandform: Form 171">
              <a:extLst>
                <a:ext uri="{FF2B5EF4-FFF2-40B4-BE49-F238E27FC236}">
                  <a16:creationId xmlns:a16="http://schemas.microsoft.com/office/drawing/2014/main" id="{C1066A31-7EC0-40AD-9113-1992BD82B1A8}"/>
                </a:ext>
              </a:extLst>
            </p:cNvPr>
            <p:cNvSpPr/>
            <p:nvPr/>
          </p:nvSpPr>
          <p:spPr>
            <a:xfrm>
              <a:off x="4192518" y="943525"/>
              <a:ext cx="228600" cy="114300"/>
            </a:xfrm>
            <a:custGeom>
              <a:avLst/>
              <a:gdLst>
                <a:gd name="connsiteX0" fmla="*/ 228600 w 228600"/>
                <a:gd name="connsiteY0" fmla="*/ 114300 h 114300"/>
                <a:gd name="connsiteX1" fmla="*/ 228600 w 228600"/>
                <a:gd name="connsiteY1" fmla="*/ 57150 h 114300"/>
                <a:gd name="connsiteX2" fmla="*/ 209550 w 228600"/>
                <a:gd name="connsiteY2" fmla="*/ 24765 h 114300"/>
                <a:gd name="connsiteX3" fmla="*/ 114300 w 228600"/>
                <a:gd name="connsiteY3" fmla="*/ 0 h 114300"/>
                <a:gd name="connsiteX4" fmla="*/ 18098 w 228600"/>
                <a:gd name="connsiteY4" fmla="*/ 24765 h 114300"/>
                <a:gd name="connsiteX5" fmla="*/ 0 w 228600"/>
                <a:gd name="connsiteY5" fmla="*/ 57150 h 114300"/>
                <a:gd name="connsiteX6" fmla="*/ 0 w 228600"/>
                <a:gd name="connsiteY6" fmla="*/ 114300 h 114300"/>
                <a:gd name="connsiteX7" fmla="*/ 228600 w 228600"/>
                <a:gd name="connsiteY7" fmla="*/ 11430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8600" h="114300">
                  <a:moveTo>
                    <a:pt x="228600" y="114300"/>
                  </a:moveTo>
                  <a:lnTo>
                    <a:pt x="228600" y="57150"/>
                  </a:lnTo>
                  <a:cubicBezTo>
                    <a:pt x="228600" y="43815"/>
                    <a:pt x="221933" y="31432"/>
                    <a:pt x="209550" y="24765"/>
                  </a:cubicBezTo>
                  <a:cubicBezTo>
                    <a:pt x="191453" y="13335"/>
                    <a:pt x="159068" y="0"/>
                    <a:pt x="114300" y="0"/>
                  </a:cubicBezTo>
                  <a:cubicBezTo>
                    <a:pt x="68580" y="0"/>
                    <a:pt x="37148" y="13335"/>
                    <a:pt x="18098" y="24765"/>
                  </a:cubicBezTo>
                  <a:cubicBezTo>
                    <a:pt x="6668" y="31432"/>
                    <a:pt x="0" y="43815"/>
                    <a:pt x="0" y="57150"/>
                  </a:cubicBezTo>
                  <a:lnTo>
                    <a:pt x="0" y="114300"/>
                  </a:lnTo>
                  <a:lnTo>
                    <a:pt x="228600" y="114300"/>
                  </a:lnTo>
                  <a:close/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1" name="Freihandform: Form 172">
              <a:extLst>
                <a:ext uri="{FF2B5EF4-FFF2-40B4-BE49-F238E27FC236}">
                  <a16:creationId xmlns:a16="http://schemas.microsoft.com/office/drawing/2014/main" id="{3C7F96BF-62AA-4CE5-9CFE-BB7DF3B88A7E}"/>
                </a:ext>
              </a:extLst>
            </p:cNvPr>
            <p:cNvSpPr/>
            <p:nvPr/>
          </p:nvSpPr>
          <p:spPr>
            <a:xfrm>
              <a:off x="4535418" y="943525"/>
              <a:ext cx="228600" cy="114300"/>
            </a:xfrm>
            <a:custGeom>
              <a:avLst/>
              <a:gdLst>
                <a:gd name="connsiteX0" fmla="*/ 228600 w 228600"/>
                <a:gd name="connsiteY0" fmla="*/ 114300 h 114300"/>
                <a:gd name="connsiteX1" fmla="*/ 228600 w 228600"/>
                <a:gd name="connsiteY1" fmla="*/ 57150 h 114300"/>
                <a:gd name="connsiteX2" fmla="*/ 209550 w 228600"/>
                <a:gd name="connsiteY2" fmla="*/ 24765 h 114300"/>
                <a:gd name="connsiteX3" fmla="*/ 114300 w 228600"/>
                <a:gd name="connsiteY3" fmla="*/ 0 h 114300"/>
                <a:gd name="connsiteX4" fmla="*/ 18098 w 228600"/>
                <a:gd name="connsiteY4" fmla="*/ 24765 h 114300"/>
                <a:gd name="connsiteX5" fmla="*/ 0 w 228600"/>
                <a:gd name="connsiteY5" fmla="*/ 57150 h 114300"/>
                <a:gd name="connsiteX6" fmla="*/ 0 w 228600"/>
                <a:gd name="connsiteY6" fmla="*/ 114300 h 114300"/>
                <a:gd name="connsiteX7" fmla="*/ 228600 w 228600"/>
                <a:gd name="connsiteY7" fmla="*/ 11430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8600" h="114300">
                  <a:moveTo>
                    <a:pt x="228600" y="114300"/>
                  </a:moveTo>
                  <a:lnTo>
                    <a:pt x="228600" y="57150"/>
                  </a:lnTo>
                  <a:cubicBezTo>
                    <a:pt x="228600" y="43815"/>
                    <a:pt x="221933" y="31432"/>
                    <a:pt x="209550" y="24765"/>
                  </a:cubicBezTo>
                  <a:cubicBezTo>
                    <a:pt x="191452" y="13335"/>
                    <a:pt x="159068" y="0"/>
                    <a:pt x="114300" y="0"/>
                  </a:cubicBezTo>
                  <a:cubicBezTo>
                    <a:pt x="68580" y="0"/>
                    <a:pt x="37148" y="13335"/>
                    <a:pt x="18098" y="24765"/>
                  </a:cubicBezTo>
                  <a:cubicBezTo>
                    <a:pt x="6668" y="31432"/>
                    <a:pt x="0" y="43815"/>
                    <a:pt x="0" y="57150"/>
                  </a:cubicBezTo>
                  <a:lnTo>
                    <a:pt x="0" y="114300"/>
                  </a:lnTo>
                  <a:lnTo>
                    <a:pt x="228600" y="114300"/>
                  </a:lnTo>
                  <a:close/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3A5E2411-9DF0-41CC-AF6C-DA90125AE2FB}"/>
              </a:ext>
            </a:extLst>
          </p:cNvPr>
          <p:cNvGrpSpPr>
            <a:grpSpLocks noChangeAspect="1"/>
          </p:cNvGrpSpPr>
          <p:nvPr/>
        </p:nvGrpSpPr>
        <p:grpSpPr>
          <a:xfrm rot="1199786">
            <a:off x="6737234" y="885460"/>
            <a:ext cx="281078" cy="252000"/>
            <a:chOff x="704850" y="5777979"/>
            <a:chExt cx="552450" cy="495300"/>
          </a:xfrm>
        </p:grpSpPr>
        <p:sp>
          <p:nvSpPr>
            <p:cNvPr id="63" name="Freihandform: Form 236">
              <a:extLst>
                <a:ext uri="{FF2B5EF4-FFF2-40B4-BE49-F238E27FC236}">
                  <a16:creationId xmlns:a16="http://schemas.microsoft.com/office/drawing/2014/main" id="{250AD0A3-2311-4590-9873-B3AB7DDD199A}"/>
                </a:ext>
              </a:extLst>
            </p:cNvPr>
            <p:cNvSpPr/>
            <p:nvPr/>
          </p:nvSpPr>
          <p:spPr>
            <a:xfrm>
              <a:off x="895350" y="5835129"/>
              <a:ext cx="361950" cy="9525"/>
            </a:xfrm>
            <a:custGeom>
              <a:avLst/>
              <a:gdLst>
                <a:gd name="connsiteX0" fmla="*/ 0 w 361950"/>
                <a:gd name="connsiteY0" fmla="*/ 0 h 9525"/>
                <a:gd name="connsiteX1" fmla="*/ 361950 w 36195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1950" h="9525">
                  <a:moveTo>
                    <a:pt x="0" y="0"/>
                  </a:moveTo>
                  <a:lnTo>
                    <a:pt x="361950" y="0"/>
                  </a:lnTo>
                </a:path>
              </a:pathLst>
            </a:custGeom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4" name="Freihandform: Form 237">
              <a:extLst>
                <a:ext uri="{FF2B5EF4-FFF2-40B4-BE49-F238E27FC236}">
                  <a16:creationId xmlns:a16="http://schemas.microsoft.com/office/drawing/2014/main" id="{E951373D-B047-4C52-9F45-0093FCBF3FE3}"/>
                </a:ext>
              </a:extLst>
            </p:cNvPr>
            <p:cNvSpPr/>
            <p:nvPr/>
          </p:nvSpPr>
          <p:spPr>
            <a:xfrm>
              <a:off x="895350" y="6025629"/>
              <a:ext cx="219075" cy="9525"/>
            </a:xfrm>
            <a:custGeom>
              <a:avLst/>
              <a:gdLst>
                <a:gd name="connsiteX0" fmla="*/ 0 w 219075"/>
                <a:gd name="connsiteY0" fmla="*/ 0 h 9525"/>
                <a:gd name="connsiteX1" fmla="*/ 219075 w 219075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075" h="9525">
                  <a:moveTo>
                    <a:pt x="0" y="0"/>
                  </a:moveTo>
                  <a:lnTo>
                    <a:pt x="219075" y="0"/>
                  </a:lnTo>
                </a:path>
              </a:pathLst>
            </a:custGeom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5" name="Freihandform: Form 238">
              <a:extLst>
                <a:ext uri="{FF2B5EF4-FFF2-40B4-BE49-F238E27FC236}">
                  <a16:creationId xmlns:a16="http://schemas.microsoft.com/office/drawing/2014/main" id="{16DCCEBD-9620-4999-94C6-A2DBAF39221D}"/>
                </a:ext>
              </a:extLst>
            </p:cNvPr>
            <p:cNvSpPr/>
            <p:nvPr/>
          </p:nvSpPr>
          <p:spPr>
            <a:xfrm>
              <a:off x="895350" y="6216129"/>
              <a:ext cx="361950" cy="9525"/>
            </a:xfrm>
            <a:custGeom>
              <a:avLst/>
              <a:gdLst>
                <a:gd name="connsiteX0" fmla="*/ 0 w 361950"/>
                <a:gd name="connsiteY0" fmla="*/ 0 h 9525"/>
                <a:gd name="connsiteX1" fmla="*/ 361950 w 36195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1950" h="9525">
                  <a:moveTo>
                    <a:pt x="0" y="0"/>
                  </a:moveTo>
                  <a:lnTo>
                    <a:pt x="361950" y="0"/>
                  </a:lnTo>
                </a:path>
              </a:pathLst>
            </a:custGeom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6" name="Freihandform: Form 239">
              <a:extLst>
                <a:ext uri="{FF2B5EF4-FFF2-40B4-BE49-F238E27FC236}">
                  <a16:creationId xmlns:a16="http://schemas.microsoft.com/office/drawing/2014/main" id="{A988E417-CBA7-4B55-8553-C3B2A7FED2E4}"/>
                </a:ext>
              </a:extLst>
            </p:cNvPr>
            <p:cNvSpPr/>
            <p:nvPr/>
          </p:nvSpPr>
          <p:spPr>
            <a:xfrm>
              <a:off x="704850" y="5777979"/>
              <a:ext cx="38100" cy="114300"/>
            </a:xfrm>
            <a:custGeom>
              <a:avLst/>
              <a:gdLst>
                <a:gd name="connsiteX0" fmla="*/ 0 w 38100"/>
                <a:gd name="connsiteY0" fmla="*/ 0 h 114300"/>
                <a:gd name="connsiteX1" fmla="*/ 38100 w 38100"/>
                <a:gd name="connsiteY1" fmla="*/ 0 h 114300"/>
                <a:gd name="connsiteX2" fmla="*/ 38100 w 38100"/>
                <a:gd name="connsiteY2" fmla="*/ 11430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100" h="114300">
                  <a:moveTo>
                    <a:pt x="0" y="0"/>
                  </a:moveTo>
                  <a:lnTo>
                    <a:pt x="38100" y="0"/>
                  </a:lnTo>
                  <a:lnTo>
                    <a:pt x="38100" y="114300"/>
                  </a:lnTo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7" name="Freihandform: Form 240">
              <a:extLst>
                <a:ext uri="{FF2B5EF4-FFF2-40B4-BE49-F238E27FC236}">
                  <a16:creationId xmlns:a16="http://schemas.microsoft.com/office/drawing/2014/main" id="{82643F83-74A7-4047-8802-5B880435517A}"/>
                </a:ext>
              </a:extLst>
            </p:cNvPr>
            <p:cNvSpPr/>
            <p:nvPr/>
          </p:nvSpPr>
          <p:spPr>
            <a:xfrm>
              <a:off x="704850" y="5892279"/>
              <a:ext cx="76200" cy="9525"/>
            </a:xfrm>
            <a:custGeom>
              <a:avLst/>
              <a:gdLst>
                <a:gd name="connsiteX0" fmla="*/ 0 w 76200"/>
                <a:gd name="connsiteY0" fmla="*/ 0 h 9525"/>
                <a:gd name="connsiteX1" fmla="*/ 76200 w 7620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6200" h="9525">
                  <a:moveTo>
                    <a:pt x="0" y="0"/>
                  </a:moveTo>
                  <a:lnTo>
                    <a:pt x="76200" y="0"/>
                  </a:lnTo>
                </a:path>
              </a:pathLst>
            </a:custGeom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8" name="Freihandform: Form 241">
              <a:extLst>
                <a:ext uri="{FF2B5EF4-FFF2-40B4-BE49-F238E27FC236}">
                  <a16:creationId xmlns:a16="http://schemas.microsoft.com/office/drawing/2014/main" id="{5244FD02-3EE7-474C-B332-D81EA87D66AA}"/>
                </a:ext>
              </a:extLst>
            </p:cNvPr>
            <p:cNvSpPr/>
            <p:nvPr/>
          </p:nvSpPr>
          <p:spPr>
            <a:xfrm>
              <a:off x="704850" y="5968479"/>
              <a:ext cx="85725" cy="114300"/>
            </a:xfrm>
            <a:custGeom>
              <a:avLst/>
              <a:gdLst>
                <a:gd name="connsiteX0" fmla="*/ 85725 w 85725"/>
                <a:gd name="connsiteY0" fmla="*/ 114300 h 114300"/>
                <a:gd name="connsiteX1" fmla="*/ 0 w 85725"/>
                <a:gd name="connsiteY1" fmla="*/ 114300 h 114300"/>
                <a:gd name="connsiteX2" fmla="*/ 0 w 85725"/>
                <a:gd name="connsiteY2" fmla="*/ 104775 h 114300"/>
                <a:gd name="connsiteX3" fmla="*/ 68580 w 85725"/>
                <a:gd name="connsiteY3" fmla="*/ 53340 h 114300"/>
                <a:gd name="connsiteX4" fmla="*/ 76200 w 85725"/>
                <a:gd name="connsiteY4" fmla="*/ 38100 h 114300"/>
                <a:gd name="connsiteX5" fmla="*/ 76200 w 85725"/>
                <a:gd name="connsiteY5" fmla="*/ 19050 h 114300"/>
                <a:gd name="connsiteX6" fmla="*/ 57150 w 85725"/>
                <a:gd name="connsiteY6" fmla="*/ 0 h 114300"/>
                <a:gd name="connsiteX7" fmla="*/ 19050 w 85725"/>
                <a:gd name="connsiteY7" fmla="*/ 0 h 114300"/>
                <a:gd name="connsiteX8" fmla="*/ 0 w 85725"/>
                <a:gd name="connsiteY8" fmla="*/ 19050 h 114300"/>
                <a:gd name="connsiteX9" fmla="*/ 0 w 85725"/>
                <a:gd name="connsiteY9" fmla="*/ 2857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5725" h="114300">
                  <a:moveTo>
                    <a:pt x="85725" y="114300"/>
                  </a:moveTo>
                  <a:lnTo>
                    <a:pt x="0" y="114300"/>
                  </a:lnTo>
                  <a:lnTo>
                    <a:pt x="0" y="104775"/>
                  </a:lnTo>
                  <a:lnTo>
                    <a:pt x="68580" y="53340"/>
                  </a:lnTo>
                  <a:cubicBezTo>
                    <a:pt x="73343" y="49530"/>
                    <a:pt x="76200" y="43815"/>
                    <a:pt x="76200" y="38100"/>
                  </a:cubicBezTo>
                  <a:lnTo>
                    <a:pt x="76200" y="19050"/>
                  </a:lnTo>
                  <a:cubicBezTo>
                    <a:pt x="76200" y="8572"/>
                    <a:pt x="67628" y="0"/>
                    <a:pt x="57150" y="0"/>
                  </a:cubicBezTo>
                  <a:lnTo>
                    <a:pt x="19050" y="0"/>
                  </a:lnTo>
                  <a:cubicBezTo>
                    <a:pt x="8573" y="0"/>
                    <a:pt x="0" y="8572"/>
                    <a:pt x="0" y="19050"/>
                  </a:cubicBezTo>
                  <a:lnTo>
                    <a:pt x="0" y="28575"/>
                  </a:lnTo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9" name="Freihandform: Form 242">
              <a:extLst>
                <a:ext uri="{FF2B5EF4-FFF2-40B4-BE49-F238E27FC236}">
                  <a16:creationId xmlns:a16="http://schemas.microsoft.com/office/drawing/2014/main" id="{DD6F5526-470F-48CE-99C7-D68B6C678E89}"/>
                </a:ext>
              </a:extLst>
            </p:cNvPr>
            <p:cNvSpPr/>
            <p:nvPr/>
          </p:nvSpPr>
          <p:spPr>
            <a:xfrm>
              <a:off x="704850" y="6158979"/>
              <a:ext cx="76200" cy="57150"/>
            </a:xfrm>
            <a:custGeom>
              <a:avLst/>
              <a:gdLst>
                <a:gd name="connsiteX0" fmla="*/ 38100 w 76200"/>
                <a:gd name="connsiteY0" fmla="*/ 57150 h 57150"/>
                <a:gd name="connsiteX1" fmla="*/ 57150 w 76200"/>
                <a:gd name="connsiteY1" fmla="*/ 57150 h 57150"/>
                <a:gd name="connsiteX2" fmla="*/ 76200 w 76200"/>
                <a:gd name="connsiteY2" fmla="*/ 38100 h 57150"/>
                <a:gd name="connsiteX3" fmla="*/ 76200 w 76200"/>
                <a:gd name="connsiteY3" fmla="*/ 19050 h 57150"/>
                <a:gd name="connsiteX4" fmla="*/ 57150 w 76200"/>
                <a:gd name="connsiteY4" fmla="*/ 0 h 57150"/>
                <a:gd name="connsiteX5" fmla="*/ 19050 w 76200"/>
                <a:gd name="connsiteY5" fmla="*/ 0 h 57150"/>
                <a:gd name="connsiteX6" fmla="*/ 0 w 76200"/>
                <a:gd name="connsiteY6" fmla="*/ 19050 h 57150"/>
                <a:gd name="connsiteX7" fmla="*/ 0 w 76200"/>
                <a:gd name="connsiteY7" fmla="*/ 1905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200" h="57150">
                  <a:moveTo>
                    <a:pt x="38100" y="57150"/>
                  </a:moveTo>
                  <a:lnTo>
                    <a:pt x="57150" y="57150"/>
                  </a:lnTo>
                  <a:cubicBezTo>
                    <a:pt x="67628" y="57150"/>
                    <a:pt x="76200" y="48577"/>
                    <a:pt x="76200" y="38100"/>
                  </a:cubicBezTo>
                  <a:lnTo>
                    <a:pt x="76200" y="19050"/>
                  </a:lnTo>
                  <a:cubicBezTo>
                    <a:pt x="76200" y="8573"/>
                    <a:pt x="67628" y="0"/>
                    <a:pt x="57150" y="0"/>
                  </a:cubicBezTo>
                  <a:lnTo>
                    <a:pt x="19050" y="0"/>
                  </a:lnTo>
                  <a:cubicBezTo>
                    <a:pt x="8573" y="0"/>
                    <a:pt x="0" y="8573"/>
                    <a:pt x="0" y="19050"/>
                  </a:cubicBezTo>
                  <a:lnTo>
                    <a:pt x="0" y="19050"/>
                  </a:lnTo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0" name="Freihandform: Form 243">
              <a:extLst>
                <a:ext uri="{FF2B5EF4-FFF2-40B4-BE49-F238E27FC236}">
                  <a16:creationId xmlns:a16="http://schemas.microsoft.com/office/drawing/2014/main" id="{C9D9278B-9A8D-4A68-BA49-BEE2D3511393}"/>
                </a:ext>
              </a:extLst>
            </p:cNvPr>
            <p:cNvSpPr/>
            <p:nvPr/>
          </p:nvSpPr>
          <p:spPr>
            <a:xfrm>
              <a:off x="704850" y="6216129"/>
              <a:ext cx="76200" cy="57150"/>
            </a:xfrm>
            <a:custGeom>
              <a:avLst/>
              <a:gdLst>
                <a:gd name="connsiteX0" fmla="*/ 38100 w 76200"/>
                <a:gd name="connsiteY0" fmla="*/ 0 h 57150"/>
                <a:gd name="connsiteX1" fmla="*/ 57150 w 76200"/>
                <a:gd name="connsiteY1" fmla="*/ 0 h 57150"/>
                <a:gd name="connsiteX2" fmla="*/ 76200 w 76200"/>
                <a:gd name="connsiteY2" fmla="*/ 19050 h 57150"/>
                <a:gd name="connsiteX3" fmla="*/ 76200 w 76200"/>
                <a:gd name="connsiteY3" fmla="*/ 38100 h 57150"/>
                <a:gd name="connsiteX4" fmla="*/ 57150 w 76200"/>
                <a:gd name="connsiteY4" fmla="*/ 57150 h 57150"/>
                <a:gd name="connsiteX5" fmla="*/ 19050 w 76200"/>
                <a:gd name="connsiteY5" fmla="*/ 57150 h 57150"/>
                <a:gd name="connsiteX6" fmla="*/ 0 w 76200"/>
                <a:gd name="connsiteY6" fmla="*/ 38100 h 57150"/>
                <a:gd name="connsiteX7" fmla="*/ 0 w 76200"/>
                <a:gd name="connsiteY7" fmla="*/ 3810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6200" h="57150">
                  <a:moveTo>
                    <a:pt x="38100" y="0"/>
                  </a:moveTo>
                  <a:lnTo>
                    <a:pt x="57150" y="0"/>
                  </a:lnTo>
                  <a:cubicBezTo>
                    <a:pt x="67628" y="0"/>
                    <a:pt x="76200" y="8573"/>
                    <a:pt x="76200" y="19050"/>
                  </a:cubicBezTo>
                  <a:lnTo>
                    <a:pt x="76200" y="38100"/>
                  </a:lnTo>
                  <a:cubicBezTo>
                    <a:pt x="76200" y="48577"/>
                    <a:pt x="67628" y="57150"/>
                    <a:pt x="57150" y="57150"/>
                  </a:cubicBezTo>
                  <a:lnTo>
                    <a:pt x="19050" y="57150"/>
                  </a:lnTo>
                  <a:cubicBezTo>
                    <a:pt x="8573" y="57150"/>
                    <a:pt x="0" y="48577"/>
                    <a:pt x="0" y="38100"/>
                  </a:cubicBezTo>
                  <a:lnTo>
                    <a:pt x="0" y="38100"/>
                  </a:lnTo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62B90078-B6CB-451B-8C21-1CD37DF0232D}"/>
              </a:ext>
            </a:extLst>
          </p:cNvPr>
          <p:cNvGrpSpPr>
            <a:grpSpLocks noChangeAspect="1"/>
          </p:cNvGrpSpPr>
          <p:nvPr/>
        </p:nvGrpSpPr>
        <p:grpSpPr>
          <a:xfrm rot="425218">
            <a:off x="679033" y="1669005"/>
            <a:ext cx="252000" cy="252000"/>
            <a:chOff x="6243388" y="494397"/>
            <a:chExt cx="571500" cy="533400"/>
          </a:xfrm>
        </p:grpSpPr>
        <p:sp>
          <p:nvSpPr>
            <p:cNvPr id="72" name="Freihandform: Form 282">
              <a:extLst>
                <a:ext uri="{FF2B5EF4-FFF2-40B4-BE49-F238E27FC236}">
                  <a16:creationId xmlns:a16="http://schemas.microsoft.com/office/drawing/2014/main" id="{F20D527D-5DAE-4BF6-926F-83AC63B0383B}"/>
                </a:ext>
              </a:extLst>
            </p:cNvPr>
            <p:cNvSpPr/>
            <p:nvPr/>
          </p:nvSpPr>
          <p:spPr>
            <a:xfrm>
              <a:off x="6243388" y="551547"/>
              <a:ext cx="228600" cy="133350"/>
            </a:xfrm>
            <a:custGeom>
              <a:avLst/>
              <a:gdLst>
                <a:gd name="connsiteX0" fmla="*/ 0 w 228600"/>
                <a:gd name="connsiteY0" fmla="*/ 0 h 133350"/>
                <a:gd name="connsiteX1" fmla="*/ 0 w 228600"/>
                <a:gd name="connsiteY1" fmla="*/ 76200 h 133350"/>
                <a:gd name="connsiteX2" fmla="*/ 114300 w 228600"/>
                <a:gd name="connsiteY2" fmla="*/ 133350 h 133350"/>
                <a:gd name="connsiteX3" fmla="*/ 228600 w 228600"/>
                <a:gd name="connsiteY3" fmla="*/ 76200 h 133350"/>
                <a:gd name="connsiteX4" fmla="*/ 228600 w 228600"/>
                <a:gd name="connsiteY4" fmla="*/ 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00" h="133350">
                  <a:moveTo>
                    <a:pt x="0" y="0"/>
                  </a:moveTo>
                  <a:lnTo>
                    <a:pt x="0" y="76200"/>
                  </a:lnTo>
                  <a:cubicBezTo>
                    <a:pt x="0" y="107632"/>
                    <a:pt x="51435" y="133350"/>
                    <a:pt x="114300" y="133350"/>
                  </a:cubicBezTo>
                  <a:cubicBezTo>
                    <a:pt x="177165" y="133350"/>
                    <a:pt x="228600" y="107632"/>
                    <a:pt x="228600" y="76200"/>
                  </a:cubicBezTo>
                  <a:lnTo>
                    <a:pt x="228600" y="0"/>
                  </a:lnTo>
                </a:path>
              </a:pathLst>
            </a:custGeom>
            <a:noFill/>
            <a:ln w="1905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3" name="Freihandform: Form 283">
              <a:extLst>
                <a:ext uri="{FF2B5EF4-FFF2-40B4-BE49-F238E27FC236}">
                  <a16:creationId xmlns:a16="http://schemas.microsoft.com/office/drawing/2014/main" id="{53EDA78B-E99C-4E5D-8C01-159B6EC0B9C5}"/>
                </a:ext>
              </a:extLst>
            </p:cNvPr>
            <p:cNvSpPr/>
            <p:nvPr/>
          </p:nvSpPr>
          <p:spPr>
            <a:xfrm>
              <a:off x="6243388" y="627747"/>
              <a:ext cx="228600" cy="133350"/>
            </a:xfrm>
            <a:custGeom>
              <a:avLst/>
              <a:gdLst>
                <a:gd name="connsiteX0" fmla="*/ 0 w 228600"/>
                <a:gd name="connsiteY0" fmla="*/ 0 h 133350"/>
                <a:gd name="connsiteX1" fmla="*/ 0 w 228600"/>
                <a:gd name="connsiteY1" fmla="*/ 76200 h 133350"/>
                <a:gd name="connsiteX2" fmla="*/ 114300 w 228600"/>
                <a:gd name="connsiteY2" fmla="*/ 133350 h 133350"/>
                <a:gd name="connsiteX3" fmla="*/ 228600 w 228600"/>
                <a:gd name="connsiteY3" fmla="*/ 76200 h 133350"/>
                <a:gd name="connsiteX4" fmla="*/ 228600 w 228600"/>
                <a:gd name="connsiteY4" fmla="*/ 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00" h="133350">
                  <a:moveTo>
                    <a:pt x="0" y="0"/>
                  </a:moveTo>
                  <a:lnTo>
                    <a:pt x="0" y="76200"/>
                  </a:lnTo>
                  <a:cubicBezTo>
                    <a:pt x="0" y="107632"/>
                    <a:pt x="51435" y="133350"/>
                    <a:pt x="114300" y="133350"/>
                  </a:cubicBezTo>
                  <a:cubicBezTo>
                    <a:pt x="177165" y="133350"/>
                    <a:pt x="228600" y="107632"/>
                    <a:pt x="228600" y="76200"/>
                  </a:cubicBezTo>
                  <a:lnTo>
                    <a:pt x="228600" y="0"/>
                  </a:lnTo>
                </a:path>
              </a:pathLst>
            </a:custGeom>
            <a:noFill/>
            <a:ln w="1905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4" name="Freihandform: Form 284">
              <a:extLst>
                <a:ext uri="{FF2B5EF4-FFF2-40B4-BE49-F238E27FC236}">
                  <a16:creationId xmlns:a16="http://schemas.microsoft.com/office/drawing/2014/main" id="{E1256876-DAB2-420F-8A21-BD0096441DC5}"/>
                </a:ext>
              </a:extLst>
            </p:cNvPr>
            <p:cNvSpPr/>
            <p:nvPr/>
          </p:nvSpPr>
          <p:spPr>
            <a:xfrm>
              <a:off x="6243388" y="703947"/>
              <a:ext cx="114300" cy="133350"/>
            </a:xfrm>
            <a:custGeom>
              <a:avLst/>
              <a:gdLst>
                <a:gd name="connsiteX0" fmla="*/ 0 w 114300"/>
                <a:gd name="connsiteY0" fmla="*/ 0 h 133350"/>
                <a:gd name="connsiteX1" fmla="*/ 0 w 114300"/>
                <a:gd name="connsiteY1" fmla="*/ 76200 h 133350"/>
                <a:gd name="connsiteX2" fmla="*/ 114300 w 114300"/>
                <a:gd name="connsiteY2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300" h="133350">
                  <a:moveTo>
                    <a:pt x="0" y="0"/>
                  </a:moveTo>
                  <a:lnTo>
                    <a:pt x="0" y="76200"/>
                  </a:lnTo>
                  <a:cubicBezTo>
                    <a:pt x="0" y="107632"/>
                    <a:pt x="51435" y="133350"/>
                    <a:pt x="114300" y="133350"/>
                  </a:cubicBezTo>
                </a:path>
              </a:pathLst>
            </a:custGeom>
            <a:noFill/>
            <a:ln w="1905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5" name="Freihandform: Form 285">
              <a:extLst>
                <a:ext uri="{FF2B5EF4-FFF2-40B4-BE49-F238E27FC236}">
                  <a16:creationId xmlns:a16="http://schemas.microsoft.com/office/drawing/2014/main" id="{50D518D4-609D-4401-BC18-E34473073382}"/>
                </a:ext>
              </a:extLst>
            </p:cNvPr>
            <p:cNvSpPr/>
            <p:nvPr/>
          </p:nvSpPr>
          <p:spPr>
            <a:xfrm>
              <a:off x="6243388" y="780147"/>
              <a:ext cx="114300" cy="133350"/>
            </a:xfrm>
            <a:custGeom>
              <a:avLst/>
              <a:gdLst>
                <a:gd name="connsiteX0" fmla="*/ 0 w 114300"/>
                <a:gd name="connsiteY0" fmla="*/ 0 h 133350"/>
                <a:gd name="connsiteX1" fmla="*/ 0 w 114300"/>
                <a:gd name="connsiteY1" fmla="*/ 76200 h 133350"/>
                <a:gd name="connsiteX2" fmla="*/ 114300 w 114300"/>
                <a:gd name="connsiteY2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300" h="133350">
                  <a:moveTo>
                    <a:pt x="0" y="0"/>
                  </a:moveTo>
                  <a:lnTo>
                    <a:pt x="0" y="76200"/>
                  </a:lnTo>
                  <a:cubicBezTo>
                    <a:pt x="0" y="107632"/>
                    <a:pt x="51435" y="133350"/>
                    <a:pt x="114300" y="133350"/>
                  </a:cubicBezTo>
                </a:path>
              </a:pathLst>
            </a:custGeom>
            <a:noFill/>
            <a:ln w="1905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Freihandform: Form 286">
              <a:extLst>
                <a:ext uri="{FF2B5EF4-FFF2-40B4-BE49-F238E27FC236}">
                  <a16:creationId xmlns:a16="http://schemas.microsoft.com/office/drawing/2014/main" id="{6AAD9496-B9DA-42C9-B9B0-004868624278}"/>
                </a:ext>
              </a:extLst>
            </p:cNvPr>
            <p:cNvSpPr/>
            <p:nvPr/>
          </p:nvSpPr>
          <p:spPr>
            <a:xfrm>
              <a:off x="6243388" y="494397"/>
              <a:ext cx="228600" cy="114300"/>
            </a:xfrm>
            <a:custGeom>
              <a:avLst/>
              <a:gdLst>
                <a:gd name="connsiteX0" fmla="*/ 228600 w 228600"/>
                <a:gd name="connsiteY0" fmla="*/ 57150 h 114300"/>
                <a:gd name="connsiteX1" fmla="*/ 114300 w 228600"/>
                <a:gd name="connsiteY1" fmla="*/ 114300 h 114300"/>
                <a:gd name="connsiteX2" fmla="*/ 0 w 228600"/>
                <a:gd name="connsiteY2" fmla="*/ 57150 h 114300"/>
                <a:gd name="connsiteX3" fmla="*/ 114300 w 228600"/>
                <a:gd name="connsiteY3" fmla="*/ 0 h 114300"/>
                <a:gd name="connsiteX4" fmla="*/ 228600 w 2286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00" h="114300">
                  <a:moveTo>
                    <a:pt x="228600" y="57150"/>
                  </a:moveTo>
                  <a:cubicBezTo>
                    <a:pt x="228600" y="88713"/>
                    <a:pt x="177426" y="114300"/>
                    <a:pt x="114300" y="114300"/>
                  </a:cubicBezTo>
                  <a:cubicBezTo>
                    <a:pt x="51174" y="114300"/>
                    <a:pt x="0" y="88713"/>
                    <a:pt x="0" y="57150"/>
                  </a:cubicBezTo>
                  <a:cubicBezTo>
                    <a:pt x="0" y="25587"/>
                    <a:pt x="51174" y="0"/>
                    <a:pt x="114300" y="0"/>
                  </a:cubicBezTo>
                  <a:cubicBezTo>
                    <a:pt x="177426" y="0"/>
                    <a:pt x="228600" y="25587"/>
                    <a:pt x="228600" y="57150"/>
                  </a:cubicBezTo>
                  <a:close/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7" name="Freihandform: Form 191">
              <a:extLst>
                <a:ext uri="{FF2B5EF4-FFF2-40B4-BE49-F238E27FC236}">
                  <a16:creationId xmlns:a16="http://schemas.microsoft.com/office/drawing/2014/main" id="{C73215EB-C308-4836-BBD9-6D6B57FF3939}"/>
                </a:ext>
              </a:extLst>
            </p:cNvPr>
            <p:cNvSpPr/>
            <p:nvPr/>
          </p:nvSpPr>
          <p:spPr>
            <a:xfrm>
              <a:off x="6586288" y="627747"/>
              <a:ext cx="228600" cy="133350"/>
            </a:xfrm>
            <a:custGeom>
              <a:avLst/>
              <a:gdLst>
                <a:gd name="connsiteX0" fmla="*/ 0 w 228600"/>
                <a:gd name="connsiteY0" fmla="*/ 0 h 133350"/>
                <a:gd name="connsiteX1" fmla="*/ 0 w 228600"/>
                <a:gd name="connsiteY1" fmla="*/ 76200 h 133350"/>
                <a:gd name="connsiteX2" fmla="*/ 114300 w 228600"/>
                <a:gd name="connsiteY2" fmla="*/ 133350 h 133350"/>
                <a:gd name="connsiteX3" fmla="*/ 228600 w 228600"/>
                <a:gd name="connsiteY3" fmla="*/ 76200 h 133350"/>
                <a:gd name="connsiteX4" fmla="*/ 228600 w 228600"/>
                <a:gd name="connsiteY4" fmla="*/ 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00" h="133350">
                  <a:moveTo>
                    <a:pt x="0" y="0"/>
                  </a:moveTo>
                  <a:lnTo>
                    <a:pt x="0" y="76200"/>
                  </a:lnTo>
                  <a:cubicBezTo>
                    <a:pt x="0" y="107632"/>
                    <a:pt x="51435" y="133350"/>
                    <a:pt x="114300" y="133350"/>
                  </a:cubicBezTo>
                  <a:cubicBezTo>
                    <a:pt x="177165" y="133350"/>
                    <a:pt x="228600" y="107632"/>
                    <a:pt x="228600" y="76200"/>
                  </a:cubicBezTo>
                  <a:lnTo>
                    <a:pt x="228600" y="0"/>
                  </a:lnTo>
                </a:path>
              </a:pathLst>
            </a:custGeom>
            <a:noFill/>
            <a:ln w="1905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8" name="Freihandform: Form 192">
              <a:extLst>
                <a:ext uri="{FF2B5EF4-FFF2-40B4-BE49-F238E27FC236}">
                  <a16:creationId xmlns:a16="http://schemas.microsoft.com/office/drawing/2014/main" id="{E6DA1702-6121-4FE1-8238-FBEC790B7799}"/>
                </a:ext>
              </a:extLst>
            </p:cNvPr>
            <p:cNvSpPr/>
            <p:nvPr/>
          </p:nvSpPr>
          <p:spPr>
            <a:xfrm>
              <a:off x="6700588" y="703947"/>
              <a:ext cx="114300" cy="133350"/>
            </a:xfrm>
            <a:custGeom>
              <a:avLst/>
              <a:gdLst>
                <a:gd name="connsiteX0" fmla="*/ 0 w 114300"/>
                <a:gd name="connsiteY0" fmla="*/ 133350 h 133350"/>
                <a:gd name="connsiteX1" fmla="*/ 114300 w 114300"/>
                <a:gd name="connsiteY1" fmla="*/ 76200 h 133350"/>
                <a:gd name="connsiteX2" fmla="*/ 114300 w 114300"/>
                <a:gd name="connsiteY2" fmla="*/ 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300" h="133350">
                  <a:moveTo>
                    <a:pt x="0" y="133350"/>
                  </a:moveTo>
                  <a:cubicBezTo>
                    <a:pt x="62865" y="133350"/>
                    <a:pt x="114300" y="107632"/>
                    <a:pt x="114300" y="76200"/>
                  </a:cubicBezTo>
                  <a:lnTo>
                    <a:pt x="114300" y="0"/>
                  </a:lnTo>
                </a:path>
              </a:pathLst>
            </a:custGeom>
            <a:noFill/>
            <a:ln w="1905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9" name="Freihandform: Form 193">
              <a:extLst>
                <a:ext uri="{FF2B5EF4-FFF2-40B4-BE49-F238E27FC236}">
                  <a16:creationId xmlns:a16="http://schemas.microsoft.com/office/drawing/2014/main" id="{4ABA92FB-821C-4BE7-A128-EC1A3C79CB35}"/>
                </a:ext>
              </a:extLst>
            </p:cNvPr>
            <p:cNvSpPr/>
            <p:nvPr/>
          </p:nvSpPr>
          <p:spPr>
            <a:xfrm>
              <a:off x="6700588" y="780147"/>
              <a:ext cx="114300" cy="133350"/>
            </a:xfrm>
            <a:custGeom>
              <a:avLst/>
              <a:gdLst>
                <a:gd name="connsiteX0" fmla="*/ 0 w 114300"/>
                <a:gd name="connsiteY0" fmla="*/ 133350 h 133350"/>
                <a:gd name="connsiteX1" fmla="*/ 114300 w 114300"/>
                <a:gd name="connsiteY1" fmla="*/ 76200 h 133350"/>
                <a:gd name="connsiteX2" fmla="*/ 114300 w 114300"/>
                <a:gd name="connsiteY2" fmla="*/ 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300" h="133350">
                  <a:moveTo>
                    <a:pt x="0" y="133350"/>
                  </a:moveTo>
                  <a:cubicBezTo>
                    <a:pt x="62865" y="133350"/>
                    <a:pt x="114300" y="107632"/>
                    <a:pt x="114300" y="76200"/>
                  </a:cubicBezTo>
                  <a:lnTo>
                    <a:pt x="114300" y="0"/>
                  </a:lnTo>
                </a:path>
              </a:pathLst>
            </a:custGeom>
            <a:noFill/>
            <a:ln w="1905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Freihandform: Form 194">
              <a:extLst>
                <a:ext uri="{FF2B5EF4-FFF2-40B4-BE49-F238E27FC236}">
                  <a16:creationId xmlns:a16="http://schemas.microsoft.com/office/drawing/2014/main" id="{7AB80129-3561-4D24-A8F8-0B8C4A801AA6}"/>
                </a:ext>
              </a:extLst>
            </p:cNvPr>
            <p:cNvSpPr/>
            <p:nvPr/>
          </p:nvSpPr>
          <p:spPr>
            <a:xfrm>
              <a:off x="6586288" y="570597"/>
              <a:ext cx="228600" cy="114300"/>
            </a:xfrm>
            <a:custGeom>
              <a:avLst/>
              <a:gdLst>
                <a:gd name="connsiteX0" fmla="*/ 228600 w 228600"/>
                <a:gd name="connsiteY0" fmla="*/ 57150 h 114300"/>
                <a:gd name="connsiteX1" fmla="*/ 114300 w 228600"/>
                <a:gd name="connsiteY1" fmla="*/ 114300 h 114300"/>
                <a:gd name="connsiteX2" fmla="*/ 0 w 228600"/>
                <a:gd name="connsiteY2" fmla="*/ 57150 h 114300"/>
                <a:gd name="connsiteX3" fmla="*/ 114300 w 228600"/>
                <a:gd name="connsiteY3" fmla="*/ 0 h 114300"/>
                <a:gd name="connsiteX4" fmla="*/ 228600 w 2286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00" h="114300">
                  <a:moveTo>
                    <a:pt x="228600" y="57150"/>
                  </a:moveTo>
                  <a:cubicBezTo>
                    <a:pt x="228600" y="88713"/>
                    <a:pt x="177426" y="114300"/>
                    <a:pt x="114300" y="114300"/>
                  </a:cubicBezTo>
                  <a:cubicBezTo>
                    <a:pt x="51174" y="114300"/>
                    <a:pt x="0" y="88713"/>
                    <a:pt x="0" y="57150"/>
                  </a:cubicBezTo>
                  <a:cubicBezTo>
                    <a:pt x="0" y="25587"/>
                    <a:pt x="51174" y="0"/>
                    <a:pt x="114300" y="0"/>
                  </a:cubicBezTo>
                  <a:cubicBezTo>
                    <a:pt x="177426" y="0"/>
                    <a:pt x="228600" y="25587"/>
                    <a:pt x="228600" y="57150"/>
                  </a:cubicBezTo>
                  <a:close/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1" name="Freihandform: Form 195">
              <a:extLst>
                <a:ext uri="{FF2B5EF4-FFF2-40B4-BE49-F238E27FC236}">
                  <a16:creationId xmlns:a16="http://schemas.microsoft.com/office/drawing/2014/main" id="{18C6B861-7551-4375-AAF7-E1E38876C1A7}"/>
                </a:ext>
              </a:extLst>
            </p:cNvPr>
            <p:cNvSpPr/>
            <p:nvPr/>
          </p:nvSpPr>
          <p:spPr>
            <a:xfrm>
              <a:off x="6414838" y="818247"/>
              <a:ext cx="228600" cy="133350"/>
            </a:xfrm>
            <a:custGeom>
              <a:avLst/>
              <a:gdLst>
                <a:gd name="connsiteX0" fmla="*/ 0 w 228600"/>
                <a:gd name="connsiteY0" fmla="*/ 0 h 133350"/>
                <a:gd name="connsiteX1" fmla="*/ 0 w 228600"/>
                <a:gd name="connsiteY1" fmla="*/ 76200 h 133350"/>
                <a:gd name="connsiteX2" fmla="*/ 114300 w 228600"/>
                <a:gd name="connsiteY2" fmla="*/ 133350 h 133350"/>
                <a:gd name="connsiteX3" fmla="*/ 228600 w 228600"/>
                <a:gd name="connsiteY3" fmla="*/ 76200 h 133350"/>
                <a:gd name="connsiteX4" fmla="*/ 228600 w 228600"/>
                <a:gd name="connsiteY4" fmla="*/ 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00" h="133350">
                  <a:moveTo>
                    <a:pt x="0" y="0"/>
                  </a:moveTo>
                  <a:lnTo>
                    <a:pt x="0" y="76200"/>
                  </a:lnTo>
                  <a:cubicBezTo>
                    <a:pt x="0" y="107632"/>
                    <a:pt x="51435" y="133350"/>
                    <a:pt x="114300" y="133350"/>
                  </a:cubicBezTo>
                  <a:cubicBezTo>
                    <a:pt x="177165" y="133350"/>
                    <a:pt x="228600" y="107632"/>
                    <a:pt x="228600" y="76200"/>
                  </a:cubicBezTo>
                  <a:lnTo>
                    <a:pt x="228600" y="0"/>
                  </a:lnTo>
                </a:path>
              </a:pathLst>
            </a:custGeom>
            <a:noFill/>
            <a:ln w="1905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2" name="Freihandform: Form 196">
              <a:extLst>
                <a:ext uri="{FF2B5EF4-FFF2-40B4-BE49-F238E27FC236}">
                  <a16:creationId xmlns:a16="http://schemas.microsoft.com/office/drawing/2014/main" id="{C11AED2B-F5BF-4D9C-AB42-5F72E7FC99FF}"/>
                </a:ext>
              </a:extLst>
            </p:cNvPr>
            <p:cNvSpPr/>
            <p:nvPr/>
          </p:nvSpPr>
          <p:spPr>
            <a:xfrm>
              <a:off x="6414838" y="894447"/>
              <a:ext cx="228600" cy="133350"/>
            </a:xfrm>
            <a:custGeom>
              <a:avLst/>
              <a:gdLst>
                <a:gd name="connsiteX0" fmla="*/ 0 w 228600"/>
                <a:gd name="connsiteY0" fmla="*/ 0 h 133350"/>
                <a:gd name="connsiteX1" fmla="*/ 0 w 228600"/>
                <a:gd name="connsiteY1" fmla="*/ 76200 h 133350"/>
                <a:gd name="connsiteX2" fmla="*/ 114300 w 228600"/>
                <a:gd name="connsiteY2" fmla="*/ 133350 h 133350"/>
                <a:gd name="connsiteX3" fmla="*/ 228600 w 228600"/>
                <a:gd name="connsiteY3" fmla="*/ 76200 h 133350"/>
                <a:gd name="connsiteX4" fmla="*/ 228600 w 228600"/>
                <a:gd name="connsiteY4" fmla="*/ 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00" h="133350">
                  <a:moveTo>
                    <a:pt x="0" y="0"/>
                  </a:moveTo>
                  <a:lnTo>
                    <a:pt x="0" y="76200"/>
                  </a:lnTo>
                  <a:cubicBezTo>
                    <a:pt x="0" y="107632"/>
                    <a:pt x="51435" y="133350"/>
                    <a:pt x="114300" y="133350"/>
                  </a:cubicBezTo>
                  <a:cubicBezTo>
                    <a:pt x="177165" y="133350"/>
                    <a:pt x="228600" y="107632"/>
                    <a:pt x="228600" y="76200"/>
                  </a:cubicBezTo>
                  <a:lnTo>
                    <a:pt x="228600" y="0"/>
                  </a:lnTo>
                </a:path>
              </a:pathLst>
            </a:custGeom>
            <a:noFill/>
            <a:ln w="1905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3" name="Freihandform: Form 197">
              <a:extLst>
                <a:ext uri="{FF2B5EF4-FFF2-40B4-BE49-F238E27FC236}">
                  <a16:creationId xmlns:a16="http://schemas.microsoft.com/office/drawing/2014/main" id="{85919C46-CEAB-4C4B-AF31-AECC4114D511}"/>
                </a:ext>
              </a:extLst>
            </p:cNvPr>
            <p:cNvSpPr/>
            <p:nvPr/>
          </p:nvSpPr>
          <p:spPr>
            <a:xfrm>
              <a:off x="6414838" y="761097"/>
              <a:ext cx="228600" cy="114300"/>
            </a:xfrm>
            <a:custGeom>
              <a:avLst/>
              <a:gdLst>
                <a:gd name="connsiteX0" fmla="*/ 228600 w 228600"/>
                <a:gd name="connsiteY0" fmla="*/ 57150 h 114300"/>
                <a:gd name="connsiteX1" fmla="*/ 114300 w 228600"/>
                <a:gd name="connsiteY1" fmla="*/ 114300 h 114300"/>
                <a:gd name="connsiteX2" fmla="*/ 0 w 228600"/>
                <a:gd name="connsiteY2" fmla="*/ 57150 h 114300"/>
                <a:gd name="connsiteX3" fmla="*/ 114300 w 228600"/>
                <a:gd name="connsiteY3" fmla="*/ 0 h 114300"/>
                <a:gd name="connsiteX4" fmla="*/ 228600 w 228600"/>
                <a:gd name="connsiteY4" fmla="*/ 5715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8600" h="114300">
                  <a:moveTo>
                    <a:pt x="228600" y="57150"/>
                  </a:moveTo>
                  <a:cubicBezTo>
                    <a:pt x="228600" y="88713"/>
                    <a:pt x="177426" y="114300"/>
                    <a:pt x="114300" y="114300"/>
                  </a:cubicBezTo>
                  <a:cubicBezTo>
                    <a:pt x="51174" y="114300"/>
                    <a:pt x="0" y="88713"/>
                    <a:pt x="0" y="57150"/>
                  </a:cubicBezTo>
                  <a:cubicBezTo>
                    <a:pt x="0" y="25587"/>
                    <a:pt x="51174" y="0"/>
                    <a:pt x="114300" y="0"/>
                  </a:cubicBezTo>
                  <a:cubicBezTo>
                    <a:pt x="177426" y="0"/>
                    <a:pt x="228600" y="25587"/>
                    <a:pt x="228600" y="57150"/>
                  </a:cubicBezTo>
                  <a:close/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91" name="Gruppieren 90">
            <a:extLst>
              <a:ext uri="{FF2B5EF4-FFF2-40B4-BE49-F238E27FC236}">
                <a16:creationId xmlns:a16="http://schemas.microsoft.com/office/drawing/2014/main" id="{A62FF30D-AB96-4B45-8E59-554DAA9C92E8}"/>
              </a:ext>
            </a:extLst>
          </p:cNvPr>
          <p:cNvGrpSpPr>
            <a:grpSpLocks noChangeAspect="1"/>
          </p:cNvGrpSpPr>
          <p:nvPr/>
        </p:nvGrpSpPr>
        <p:grpSpPr>
          <a:xfrm>
            <a:off x="6194147" y="3716183"/>
            <a:ext cx="247870" cy="252000"/>
            <a:chOff x="1638040" y="5633456"/>
            <a:chExt cx="571500" cy="581025"/>
          </a:xfrm>
        </p:grpSpPr>
        <p:sp>
          <p:nvSpPr>
            <p:cNvPr id="92" name="Freihandform: Form 175">
              <a:extLst>
                <a:ext uri="{FF2B5EF4-FFF2-40B4-BE49-F238E27FC236}">
                  <a16:creationId xmlns:a16="http://schemas.microsoft.com/office/drawing/2014/main" id="{E21C9E7D-48E9-4BBC-93E1-0E131951E46D}"/>
                </a:ext>
              </a:extLst>
            </p:cNvPr>
            <p:cNvSpPr/>
            <p:nvPr/>
          </p:nvSpPr>
          <p:spPr>
            <a:xfrm>
              <a:off x="1638040" y="5919206"/>
              <a:ext cx="276225" cy="285750"/>
            </a:xfrm>
            <a:custGeom>
              <a:avLst/>
              <a:gdLst>
                <a:gd name="connsiteX0" fmla="*/ 152400 w 276225"/>
                <a:gd name="connsiteY0" fmla="*/ 0 h 285750"/>
                <a:gd name="connsiteX1" fmla="*/ 142875 w 276225"/>
                <a:gd name="connsiteY1" fmla="*/ 0 h 285750"/>
                <a:gd name="connsiteX2" fmla="*/ 0 w 276225"/>
                <a:gd name="connsiteY2" fmla="*/ 142875 h 285750"/>
                <a:gd name="connsiteX3" fmla="*/ 0 w 276225"/>
                <a:gd name="connsiteY3" fmla="*/ 142875 h 285750"/>
                <a:gd name="connsiteX4" fmla="*/ 142875 w 276225"/>
                <a:gd name="connsiteY4" fmla="*/ 285750 h 285750"/>
                <a:gd name="connsiteX5" fmla="*/ 276225 w 276225"/>
                <a:gd name="connsiteY5" fmla="*/ 28575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225" h="285750">
                  <a:moveTo>
                    <a:pt x="152400" y="0"/>
                  </a:moveTo>
                  <a:lnTo>
                    <a:pt x="142875" y="0"/>
                  </a:lnTo>
                  <a:cubicBezTo>
                    <a:pt x="63818" y="0"/>
                    <a:pt x="0" y="63818"/>
                    <a:pt x="0" y="142875"/>
                  </a:cubicBezTo>
                  <a:lnTo>
                    <a:pt x="0" y="142875"/>
                  </a:lnTo>
                  <a:cubicBezTo>
                    <a:pt x="0" y="221933"/>
                    <a:pt x="63818" y="285750"/>
                    <a:pt x="142875" y="285750"/>
                  </a:cubicBezTo>
                  <a:lnTo>
                    <a:pt x="276225" y="285750"/>
                  </a:lnTo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3" name="Freihandform: Form 176">
              <a:extLst>
                <a:ext uri="{FF2B5EF4-FFF2-40B4-BE49-F238E27FC236}">
                  <a16:creationId xmlns:a16="http://schemas.microsoft.com/office/drawing/2014/main" id="{33A54C96-E619-45F4-8C5E-8707AFD4B07B}"/>
                </a:ext>
              </a:extLst>
            </p:cNvPr>
            <p:cNvSpPr/>
            <p:nvPr/>
          </p:nvSpPr>
          <p:spPr>
            <a:xfrm>
              <a:off x="1933315" y="5633456"/>
              <a:ext cx="276225" cy="285750"/>
            </a:xfrm>
            <a:custGeom>
              <a:avLst/>
              <a:gdLst>
                <a:gd name="connsiteX0" fmla="*/ 0 w 276225"/>
                <a:gd name="connsiteY0" fmla="*/ 0 h 285750"/>
                <a:gd name="connsiteX1" fmla="*/ 133350 w 276225"/>
                <a:gd name="connsiteY1" fmla="*/ 0 h 285750"/>
                <a:gd name="connsiteX2" fmla="*/ 276225 w 276225"/>
                <a:gd name="connsiteY2" fmla="*/ 142875 h 285750"/>
                <a:gd name="connsiteX3" fmla="*/ 276225 w 276225"/>
                <a:gd name="connsiteY3" fmla="*/ 142875 h 285750"/>
                <a:gd name="connsiteX4" fmla="*/ 133350 w 276225"/>
                <a:gd name="connsiteY4" fmla="*/ 285750 h 285750"/>
                <a:gd name="connsiteX5" fmla="*/ 123825 w 276225"/>
                <a:gd name="connsiteY5" fmla="*/ 28575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225" h="285750">
                  <a:moveTo>
                    <a:pt x="0" y="0"/>
                  </a:moveTo>
                  <a:lnTo>
                    <a:pt x="133350" y="0"/>
                  </a:lnTo>
                  <a:cubicBezTo>
                    <a:pt x="212408" y="0"/>
                    <a:pt x="276225" y="63818"/>
                    <a:pt x="276225" y="142875"/>
                  </a:cubicBezTo>
                  <a:lnTo>
                    <a:pt x="276225" y="142875"/>
                  </a:lnTo>
                  <a:cubicBezTo>
                    <a:pt x="276225" y="221933"/>
                    <a:pt x="212408" y="285750"/>
                    <a:pt x="133350" y="285750"/>
                  </a:cubicBezTo>
                  <a:lnTo>
                    <a:pt x="123825" y="285750"/>
                  </a:lnTo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4" name="Freihandform: Form 177">
              <a:extLst>
                <a:ext uri="{FF2B5EF4-FFF2-40B4-BE49-F238E27FC236}">
                  <a16:creationId xmlns:a16="http://schemas.microsoft.com/office/drawing/2014/main" id="{C916CD51-3C04-43F0-A270-E41787E922D9}"/>
                </a:ext>
              </a:extLst>
            </p:cNvPr>
            <p:cNvSpPr/>
            <p:nvPr/>
          </p:nvSpPr>
          <p:spPr>
            <a:xfrm>
              <a:off x="1790440" y="5785856"/>
              <a:ext cx="266700" cy="266700"/>
            </a:xfrm>
            <a:custGeom>
              <a:avLst/>
              <a:gdLst>
                <a:gd name="connsiteX0" fmla="*/ 266700 w 266700"/>
                <a:gd name="connsiteY0" fmla="*/ 133350 h 266700"/>
                <a:gd name="connsiteX1" fmla="*/ 133350 w 266700"/>
                <a:gd name="connsiteY1" fmla="*/ 266700 h 266700"/>
                <a:gd name="connsiteX2" fmla="*/ 0 w 266700"/>
                <a:gd name="connsiteY2" fmla="*/ 133350 h 266700"/>
                <a:gd name="connsiteX3" fmla="*/ 133350 w 266700"/>
                <a:gd name="connsiteY3" fmla="*/ 0 h 266700"/>
                <a:gd name="connsiteX4" fmla="*/ 266700 w 266700"/>
                <a:gd name="connsiteY4" fmla="*/ 13335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700" h="266700">
                  <a:moveTo>
                    <a:pt x="266700" y="133350"/>
                  </a:moveTo>
                  <a:cubicBezTo>
                    <a:pt x="266700" y="206997"/>
                    <a:pt x="206997" y="266700"/>
                    <a:pt x="133350" y="266700"/>
                  </a:cubicBezTo>
                  <a:cubicBezTo>
                    <a:pt x="59703" y="266700"/>
                    <a:pt x="0" y="206997"/>
                    <a:pt x="0" y="133350"/>
                  </a:cubicBezTo>
                  <a:cubicBezTo>
                    <a:pt x="0" y="59703"/>
                    <a:pt x="59703" y="0"/>
                    <a:pt x="133350" y="0"/>
                  </a:cubicBezTo>
                  <a:cubicBezTo>
                    <a:pt x="206997" y="0"/>
                    <a:pt x="266700" y="59703"/>
                    <a:pt x="266700" y="133350"/>
                  </a:cubicBezTo>
                  <a:close/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5" name="Freihandform: Form 178">
              <a:extLst>
                <a:ext uri="{FF2B5EF4-FFF2-40B4-BE49-F238E27FC236}">
                  <a16:creationId xmlns:a16="http://schemas.microsoft.com/office/drawing/2014/main" id="{CC2BF826-AEAF-4EF0-95C3-EB8211F67912}"/>
                </a:ext>
              </a:extLst>
            </p:cNvPr>
            <p:cNvSpPr/>
            <p:nvPr/>
          </p:nvSpPr>
          <p:spPr>
            <a:xfrm>
              <a:off x="1866640" y="5881106"/>
              <a:ext cx="114300" cy="76200"/>
            </a:xfrm>
            <a:custGeom>
              <a:avLst/>
              <a:gdLst>
                <a:gd name="connsiteX0" fmla="*/ 0 w 114300"/>
                <a:gd name="connsiteY0" fmla="*/ 38100 h 76200"/>
                <a:gd name="connsiteX1" fmla="*/ 38100 w 114300"/>
                <a:gd name="connsiteY1" fmla="*/ 76200 h 76200"/>
                <a:gd name="connsiteX2" fmla="*/ 114300 w 114300"/>
                <a:gd name="connsiteY2" fmla="*/ 0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300" h="76200">
                  <a:moveTo>
                    <a:pt x="0" y="38100"/>
                  </a:moveTo>
                  <a:lnTo>
                    <a:pt x="38100" y="76200"/>
                  </a:lnTo>
                  <a:lnTo>
                    <a:pt x="114300" y="0"/>
                  </a:lnTo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6" name="Freihandform: Form 179">
              <a:extLst>
                <a:ext uri="{FF2B5EF4-FFF2-40B4-BE49-F238E27FC236}">
                  <a16:creationId xmlns:a16="http://schemas.microsoft.com/office/drawing/2014/main" id="{2DB19B7B-AB81-425F-B5AC-65B44987B409}"/>
                </a:ext>
              </a:extLst>
            </p:cNvPr>
            <p:cNvSpPr/>
            <p:nvPr/>
          </p:nvSpPr>
          <p:spPr>
            <a:xfrm>
              <a:off x="1838065" y="5633456"/>
              <a:ext cx="28575" cy="9525"/>
            </a:xfrm>
            <a:custGeom>
              <a:avLst/>
              <a:gdLst>
                <a:gd name="connsiteX0" fmla="*/ 0 w 28575"/>
                <a:gd name="connsiteY0" fmla="*/ 0 h 9525"/>
                <a:gd name="connsiteX1" fmla="*/ 28575 w 28575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9525">
                  <a:moveTo>
                    <a:pt x="0" y="0"/>
                  </a:moveTo>
                  <a:lnTo>
                    <a:pt x="28575" y="0"/>
                  </a:lnTo>
                </a:path>
              </a:pathLst>
            </a:custGeom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7" name="Freihandform: Form 180">
              <a:extLst>
                <a:ext uri="{FF2B5EF4-FFF2-40B4-BE49-F238E27FC236}">
                  <a16:creationId xmlns:a16="http://schemas.microsoft.com/office/drawing/2014/main" id="{0AA7E921-34D3-45C9-8710-AA63D043D08B}"/>
                </a:ext>
              </a:extLst>
            </p:cNvPr>
            <p:cNvSpPr/>
            <p:nvPr/>
          </p:nvSpPr>
          <p:spPr>
            <a:xfrm>
              <a:off x="1980940" y="6204956"/>
              <a:ext cx="28575" cy="9525"/>
            </a:xfrm>
            <a:custGeom>
              <a:avLst/>
              <a:gdLst>
                <a:gd name="connsiteX0" fmla="*/ 0 w 28575"/>
                <a:gd name="connsiteY0" fmla="*/ 0 h 9525"/>
                <a:gd name="connsiteX1" fmla="*/ 28575 w 28575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575" h="9525">
                  <a:moveTo>
                    <a:pt x="0" y="0"/>
                  </a:moveTo>
                  <a:lnTo>
                    <a:pt x="28575" y="0"/>
                  </a:lnTo>
                </a:path>
              </a:pathLst>
            </a:custGeom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98" name="Gruppieren 97">
            <a:extLst>
              <a:ext uri="{FF2B5EF4-FFF2-40B4-BE49-F238E27FC236}">
                <a16:creationId xmlns:a16="http://schemas.microsoft.com/office/drawing/2014/main" id="{FF9D2A77-7DF0-4702-8237-2DAF6B3A6F5C}"/>
              </a:ext>
            </a:extLst>
          </p:cNvPr>
          <p:cNvGrpSpPr>
            <a:grpSpLocks noChangeAspect="1"/>
          </p:cNvGrpSpPr>
          <p:nvPr/>
        </p:nvGrpSpPr>
        <p:grpSpPr>
          <a:xfrm rot="977634">
            <a:off x="7381393" y="2555755"/>
            <a:ext cx="251930" cy="252000"/>
            <a:chOff x="2725337" y="374541"/>
            <a:chExt cx="514680" cy="514826"/>
          </a:xfrm>
        </p:grpSpPr>
        <p:sp>
          <p:nvSpPr>
            <p:cNvPr id="99" name="Freihandform: Form 151">
              <a:extLst>
                <a:ext uri="{FF2B5EF4-FFF2-40B4-BE49-F238E27FC236}">
                  <a16:creationId xmlns:a16="http://schemas.microsoft.com/office/drawing/2014/main" id="{6A145AA1-B352-49C1-89ED-F2C2F53C06EF}"/>
                </a:ext>
              </a:extLst>
            </p:cNvPr>
            <p:cNvSpPr/>
            <p:nvPr/>
          </p:nvSpPr>
          <p:spPr>
            <a:xfrm>
              <a:off x="3017755" y="684342"/>
              <a:ext cx="222262" cy="204073"/>
            </a:xfrm>
            <a:custGeom>
              <a:avLst/>
              <a:gdLst>
                <a:gd name="connsiteX0" fmla="*/ 115253 w 222262"/>
                <a:gd name="connsiteY0" fmla="*/ 0 h 204073"/>
                <a:gd name="connsiteX1" fmla="*/ 197168 w 222262"/>
                <a:gd name="connsiteY1" fmla="*/ 71438 h 204073"/>
                <a:gd name="connsiteX2" fmla="*/ 202883 w 222262"/>
                <a:gd name="connsiteY2" fmla="*/ 179070 h 204073"/>
                <a:gd name="connsiteX3" fmla="*/ 200025 w 222262"/>
                <a:gd name="connsiteY3" fmla="*/ 181927 h 204073"/>
                <a:gd name="connsiteX4" fmla="*/ 200025 w 222262"/>
                <a:gd name="connsiteY4" fmla="*/ 181927 h 204073"/>
                <a:gd name="connsiteX5" fmla="*/ 91440 w 222262"/>
                <a:gd name="connsiteY5" fmla="*/ 181927 h 204073"/>
                <a:gd name="connsiteX6" fmla="*/ 88583 w 222262"/>
                <a:gd name="connsiteY6" fmla="*/ 179070 h 204073"/>
                <a:gd name="connsiteX7" fmla="*/ 0 w 222262"/>
                <a:gd name="connsiteY7" fmla="*/ 81915 h 2040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2262" h="204073">
                  <a:moveTo>
                    <a:pt x="115253" y="0"/>
                  </a:moveTo>
                  <a:lnTo>
                    <a:pt x="197168" y="71438"/>
                  </a:lnTo>
                  <a:cubicBezTo>
                    <a:pt x="228600" y="100013"/>
                    <a:pt x="230505" y="148590"/>
                    <a:pt x="202883" y="179070"/>
                  </a:cubicBezTo>
                  <a:cubicBezTo>
                    <a:pt x="201930" y="180022"/>
                    <a:pt x="200978" y="180975"/>
                    <a:pt x="200025" y="181927"/>
                  </a:cubicBezTo>
                  <a:lnTo>
                    <a:pt x="200025" y="181927"/>
                  </a:lnTo>
                  <a:cubicBezTo>
                    <a:pt x="170498" y="211455"/>
                    <a:pt x="121920" y="211455"/>
                    <a:pt x="91440" y="181927"/>
                  </a:cubicBezTo>
                  <a:cubicBezTo>
                    <a:pt x="90488" y="180975"/>
                    <a:pt x="89535" y="180022"/>
                    <a:pt x="88583" y="179070"/>
                  </a:cubicBezTo>
                  <a:lnTo>
                    <a:pt x="0" y="81915"/>
                  </a:lnTo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0" name="Freihandform: Form 152">
              <a:extLst>
                <a:ext uri="{FF2B5EF4-FFF2-40B4-BE49-F238E27FC236}">
                  <a16:creationId xmlns:a16="http://schemas.microsoft.com/office/drawing/2014/main" id="{7C0FB9A9-F2E2-475C-A107-267338326C14}"/>
                </a:ext>
              </a:extLst>
            </p:cNvPr>
            <p:cNvSpPr/>
            <p:nvPr/>
          </p:nvSpPr>
          <p:spPr>
            <a:xfrm>
              <a:off x="2725337" y="374779"/>
              <a:ext cx="233362" cy="230505"/>
            </a:xfrm>
            <a:custGeom>
              <a:avLst/>
              <a:gdLst>
                <a:gd name="connsiteX0" fmla="*/ 233363 w 233362"/>
                <a:gd name="connsiteY0" fmla="*/ 195263 h 230505"/>
                <a:gd name="connsiteX1" fmla="*/ 142875 w 233362"/>
                <a:gd name="connsiteY1" fmla="*/ 104775 h 230505"/>
                <a:gd name="connsiteX2" fmla="*/ 142875 w 233362"/>
                <a:gd name="connsiteY2" fmla="*/ 66675 h 230505"/>
                <a:gd name="connsiteX3" fmla="*/ 76200 w 233362"/>
                <a:gd name="connsiteY3" fmla="*/ 0 h 230505"/>
                <a:gd name="connsiteX4" fmla="*/ 0 w 233362"/>
                <a:gd name="connsiteY4" fmla="*/ 76200 h 230505"/>
                <a:gd name="connsiteX5" fmla="*/ 66675 w 233362"/>
                <a:gd name="connsiteY5" fmla="*/ 142875 h 230505"/>
                <a:gd name="connsiteX6" fmla="*/ 104775 w 233362"/>
                <a:gd name="connsiteY6" fmla="*/ 142875 h 230505"/>
                <a:gd name="connsiteX7" fmla="*/ 192405 w 233362"/>
                <a:gd name="connsiteY7" fmla="*/ 230505 h 230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3362" h="230505">
                  <a:moveTo>
                    <a:pt x="233363" y="195263"/>
                  </a:moveTo>
                  <a:lnTo>
                    <a:pt x="142875" y="104775"/>
                  </a:lnTo>
                  <a:lnTo>
                    <a:pt x="142875" y="66675"/>
                  </a:lnTo>
                  <a:lnTo>
                    <a:pt x="76200" y="0"/>
                  </a:lnTo>
                  <a:lnTo>
                    <a:pt x="0" y="76200"/>
                  </a:lnTo>
                  <a:lnTo>
                    <a:pt x="66675" y="142875"/>
                  </a:lnTo>
                  <a:lnTo>
                    <a:pt x="104775" y="142875"/>
                  </a:lnTo>
                  <a:lnTo>
                    <a:pt x="192405" y="230505"/>
                  </a:lnTo>
                </a:path>
              </a:pathLst>
            </a:custGeom>
            <a:noFill/>
            <a:ln w="19050" cap="flat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1" name="Freihandform: Form 153">
              <a:extLst>
                <a:ext uri="{FF2B5EF4-FFF2-40B4-BE49-F238E27FC236}">
                  <a16:creationId xmlns:a16="http://schemas.microsoft.com/office/drawing/2014/main" id="{205EB2D5-4C04-4457-B20D-5148AD621AB6}"/>
                </a:ext>
              </a:extLst>
            </p:cNvPr>
            <p:cNvSpPr/>
            <p:nvPr/>
          </p:nvSpPr>
          <p:spPr>
            <a:xfrm>
              <a:off x="2725528" y="374541"/>
              <a:ext cx="513936" cy="514826"/>
            </a:xfrm>
            <a:custGeom>
              <a:avLst/>
              <a:gdLst>
                <a:gd name="connsiteX0" fmla="*/ 508445 w 513936"/>
                <a:gd name="connsiteY0" fmla="*/ 90726 h 514826"/>
                <a:gd name="connsiteX1" fmla="*/ 437960 w 513936"/>
                <a:gd name="connsiteY1" fmla="*/ 161211 h 514826"/>
                <a:gd name="connsiteX2" fmla="*/ 353187 w 513936"/>
                <a:gd name="connsiteY2" fmla="*/ 76438 h 514826"/>
                <a:gd name="connsiteX3" fmla="*/ 423672 w 513936"/>
                <a:gd name="connsiteY3" fmla="*/ 5953 h 514826"/>
                <a:gd name="connsiteX4" fmla="*/ 373190 w 513936"/>
                <a:gd name="connsiteY4" fmla="*/ 238 h 514826"/>
                <a:gd name="connsiteX5" fmla="*/ 252222 w 513936"/>
                <a:gd name="connsiteY5" fmla="*/ 122158 h 514826"/>
                <a:gd name="connsiteX6" fmla="*/ 257937 w 513936"/>
                <a:gd name="connsiteY6" fmla="*/ 172641 h 514826"/>
                <a:gd name="connsiteX7" fmla="*/ 12192 w 513936"/>
                <a:gd name="connsiteY7" fmla="*/ 394573 h 514826"/>
                <a:gd name="connsiteX8" fmla="*/ 9335 w 513936"/>
                <a:gd name="connsiteY8" fmla="*/ 446961 h 514826"/>
                <a:gd name="connsiteX9" fmla="*/ 9335 w 513936"/>
                <a:gd name="connsiteY9" fmla="*/ 446961 h 514826"/>
                <a:gd name="connsiteX10" fmla="*/ 10287 w 513936"/>
                <a:gd name="connsiteY10" fmla="*/ 447913 h 514826"/>
                <a:gd name="connsiteX11" fmla="*/ 66485 w 513936"/>
                <a:gd name="connsiteY11" fmla="*/ 504111 h 514826"/>
                <a:gd name="connsiteX12" fmla="*/ 118872 w 513936"/>
                <a:gd name="connsiteY12" fmla="*/ 504111 h 514826"/>
                <a:gd name="connsiteX13" fmla="*/ 119825 w 513936"/>
                <a:gd name="connsiteY13" fmla="*/ 503158 h 514826"/>
                <a:gd name="connsiteX14" fmla="*/ 341757 w 513936"/>
                <a:gd name="connsiteY14" fmla="*/ 257413 h 514826"/>
                <a:gd name="connsiteX15" fmla="*/ 392240 w 513936"/>
                <a:gd name="connsiteY15" fmla="*/ 263128 h 514826"/>
                <a:gd name="connsiteX16" fmla="*/ 513207 w 513936"/>
                <a:gd name="connsiteY16" fmla="*/ 142161 h 514826"/>
                <a:gd name="connsiteX17" fmla="*/ 508445 w 513936"/>
                <a:gd name="connsiteY17" fmla="*/ 90726 h 514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13936" h="514826">
                  <a:moveTo>
                    <a:pt x="508445" y="90726"/>
                  </a:moveTo>
                  <a:lnTo>
                    <a:pt x="437960" y="161211"/>
                  </a:lnTo>
                  <a:lnTo>
                    <a:pt x="353187" y="76438"/>
                  </a:lnTo>
                  <a:lnTo>
                    <a:pt x="423672" y="5953"/>
                  </a:lnTo>
                  <a:cubicBezTo>
                    <a:pt x="407480" y="1191"/>
                    <a:pt x="390335" y="-714"/>
                    <a:pt x="373190" y="238"/>
                  </a:cubicBezTo>
                  <a:cubicBezTo>
                    <a:pt x="309372" y="5953"/>
                    <a:pt x="257937" y="57388"/>
                    <a:pt x="252222" y="122158"/>
                  </a:cubicBezTo>
                  <a:cubicBezTo>
                    <a:pt x="251270" y="139303"/>
                    <a:pt x="253175" y="156448"/>
                    <a:pt x="257937" y="172641"/>
                  </a:cubicBezTo>
                  <a:lnTo>
                    <a:pt x="12192" y="394573"/>
                  </a:lnTo>
                  <a:cubicBezTo>
                    <a:pt x="-3048" y="407908"/>
                    <a:pt x="-4001" y="431721"/>
                    <a:pt x="9335" y="446961"/>
                  </a:cubicBezTo>
                  <a:cubicBezTo>
                    <a:pt x="9335" y="446961"/>
                    <a:pt x="9335" y="446961"/>
                    <a:pt x="9335" y="446961"/>
                  </a:cubicBezTo>
                  <a:cubicBezTo>
                    <a:pt x="9335" y="446961"/>
                    <a:pt x="10287" y="447913"/>
                    <a:pt x="10287" y="447913"/>
                  </a:cubicBezTo>
                  <a:lnTo>
                    <a:pt x="66485" y="504111"/>
                  </a:lnTo>
                  <a:cubicBezTo>
                    <a:pt x="80772" y="518398"/>
                    <a:pt x="104585" y="518398"/>
                    <a:pt x="118872" y="504111"/>
                  </a:cubicBezTo>
                  <a:cubicBezTo>
                    <a:pt x="118872" y="504111"/>
                    <a:pt x="119825" y="503158"/>
                    <a:pt x="119825" y="503158"/>
                  </a:cubicBezTo>
                  <a:lnTo>
                    <a:pt x="341757" y="257413"/>
                  </a:lnTo>
                  <a:cubicBezTo>
                    <a:pt x="357950" y="262176"/>
                    <a:pt x="375095" y="264081"/>
                    <a:pt x="392240" y="263128"/>
                  </a:cubicBezTo>
                  <a:cubicBezTo>
                    <a:pt x="457010" y="257413"/>
                    <a:pt x="507492" y="206931"/>
                    <a:pt x="513207" y="142161"/>
                  </a:cubicBezTo>
                  <a:cubicBezTo>
                    <a:pt x="515112" y="124063"/>
                    <a:pt x="513207" y="106918"/>
                    <a:pt x="508445" y="90726"/>
                  </a:cubicBezTo>
                  <a:close/>
                </a:path>
              </a:pathLst>
            </a:custGeom>
            <a:noFill/>
            <a:ln w="19050" cap="sq">
              <a:solidFill>
                <a:schemeClr val="bg1">
                  <a:lumMod val="9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23514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XKIQiIp02ve.jyeLxEXw"/>
  <p:tag name="VCTCREATESHAPEHANDLED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XKIQiIp02ve.jyeLxEXw"/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BODYSTY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Bundeswehr">
  <a:themeElements>
    <a:clrScheme name="Bundeswehr">
      <a:dk1>
        <a:srgbClr val="000000"/>
      </a:dk1>
      <a:lt1>
        <a:srgbClr val="FFFFFF"/>
      </a:lt1>
      <a:dk2>
        <a:srgbClr val="004471"/>
      </a:dk2>
      <a:lt2>
        <a:srgbClr val="004471"/>
      </a:lt2>
      <a:accent1>
        <a:srgbClr val="C6D6DE"/>
      </a:accent1>
      <a:accent2>
        <a:srgbClr val="A6B8C3"/>
      </a:accent2>
      <a:accent3>
        <a:srgbClr val="647B8A"/>
      </a:accent3>
      <a:accent4>
        <a:srgbClr val="E6110C"/>
      </a:accent4>
      <a:accent5>
        <a:srgbClr val="F29100"/>
      </a:accent5>
      <a:accent6>
        <a:srgbClr val="F9B600"/>
      </a:accent6>
      <a:hlink>
        <a:srgbClr val="0563C1"/>
      </a:hlink>
      <a:folHlink>
        <a:srgbClr val="954F72"/>
      </a:folHlink>
    </a:clrScheme>
    <a:fontScheme name="Bundeswehr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1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442</Words>
  <Application>Microsoft Office PowerPoint</Application>
  <PresentationFormat>Bildschirmpräsentation (16:9)</PresentationFormat>
  <Paragraphs>140</Paragraphs>
  <Slides>10</Slides>
  <Notes>9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6" baseType="lpstr">
      <vt:lpstr>Arial</vt:lpstr>
      <vt:lpstr>Arial Narrow</vt:lpstr>
      <vt:lpstr>Calibri</vt:lpstr>
      <vt:lpstr>Open Sans</vt:lpstr>
      <vt:lpstr>Wingdings</vt:lpstr>
      <vt:lpstr>Bundeswehr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4-05-07T10:01:00Z</dcterms:created>
  <dcterms:modified xsi:type="dcterms:W3CDTF">2024-05-13T17:41:15Z</dcterms:modified>
</cp:coreProperties>
</file>